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32.xml" ContentType="application/vnd.openxmlformats-officedocument.presentationml.tags+xml"/>
  <Override PartName="/ppt/notesSlides/notesSlide2.xml" ContentType="application/vnd.openxmlformats-officedocument.presentationml.notesSlide+xml"/>
  <Override PartName="/ppt/tags/tag33.xml" ContentType="application/vnd.openxmlformats-officedocument.presentationml.tags+xml"/>
  <Override PartName="/ppt/notesSlides/notesSlide3.xml" ContentType="application/vnd.openxmlformats-officedocument.presentationml.notesSlide+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notesSlides/notesSlide4.xml" ContentType="application/vnd.openxmlformats-officedocument.presentationml.notesSlide+xml"/>
  <Override PartName="/ppt/tags/tag37.xml" ContentType="application/vnd.openxmlformats-officedocument.presentationml.tags+xml"/>
  <Override PartName="/ppt/charts/chart9.xml" ContentType="application/vnd.openxmlformats-officedocument.drawingml.chart+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40.xml" ContentType="application/vnd.openxmlformats-officedocument.presentationml.tags+xml"/>
  <Override PartName="/ppt/notesSlides/notesSlide5.xml" ContentType="application/vnd.openxmlformats-officedocument.presentationml.notesSlide+xml"/>
  <Override PartName="/ppt/tags/tag41.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42.xml" ContentType="application/vnd.openxmlformats-officedocument.presentationml.tags+xml"/>
  <Override PartName="/ppt/charts/chart19.xml" ContentType="application/vnd.openxmlformats-officedocument.drawingml.chart+xml"/>
  <Override PartName="/ppt/tags/tag43.xml" ContentType="application/vnd.openxmlformats-officedocument.presentationml.tags+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44.xml" ContentType="application/vnd.openxmlformats-officedocument.presentationml.tags+xml"/>
  <Override PartName="/ppt/notesSlides/notesSlide6.xml" ContentType="application/vnd.openxmlformats-officedocument.presentationml.notesSlide+xml"/>
  <Override PartName="/ppt/tags/tag45.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tags/tag46.xml" ContentType="application/vnd.openxmlformats-officedocument.presentationml.tags+xml"/>
  <Override PartName="/ppt/charts/chart29.xml" ContentType="application/vnd.openxmlformats-officedocument.drawingml.chart+xml"/>
  <Override PartName="/ppt/tags/tag47.xml" ContentType="application/vnd.openxmlformats-officedocument.presentationml.tags+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25"/>
  </p:notesMasterIdLst>
  <p:sldIdLst>
    <p:sldId id="2147475184" r:id="rId5"/>
    <p:sldId id="2147475185" r:id="rId6"/>
    <p:sldId id="2147475186" r:id="rId7"/>
    <p:sldId id="2147475187" r:id="rId8"/>
    <p:sldId id="2147475188" r:id="rId9"/>
    <p:sldId id="2147475189" r:id="rId10"/>
    <p:sldId id="2147475190" r:id="rId11"/>
    <p:sldId id="2147475191" r:id="rId12"/>
    <p:sldId id="2147475192" r:id="rId13"/>
    <p:sldId id="2147475193" r:id="rId14"/>
    <p:sldId id="2147475194" r:id="rId15"/>
    <p:sldId id="2147475195" r:id="rId16"/>
    <p:sldId id="2147475196" r:id="rId17"/>
    <p:sldId id="2147475197" r:id="rId18"/>
    <p:sldId id="2147475198" r:id="rId19"/>
    <p:sldId id="2147475199" r:id="rId20"/>
    <p:sldId id="2147475200" r:id="rId21"/>
    <p:sldId id="2147475201" r:id="rId22"/>
    <p:sldId id="2147475202" r:id="rId23"/>
    <p:sldId id="2147475203" r:id="rId2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Kirkland Dispo" id="{A81449DA-F0A3-4369-8043-2DF92421E9FF}">
          <p14:sldIdLst>
            <p14:sldId id="2147475184"/>
            <p14:sldId id="2147475185"/>
            <p14:sldId id="2147475186"/>
            <p14:sldId id="2147475187"/>
          </p14:sldIdLst>
        </p14:section>
        <p14:section name="Kirkland Razor" id="{5702F7D4-46D5-4DAF-BFAE-1A5C221619A3}">
          <p14:sldIdLst>
            <p14:sldId id="2147475188"/>
            <p14:sldId id="2147475189"/>
            <p14:sldId id="2147475190"/>
            <p14:sldId id="2147475191"/>
          </p14:sldIdLst>
        </p14:section>
        <p14:section name="Schick Blade" id="{4C00380E-96F1-4F22-B940-5A43E41EAA6C}">
          <p14:sldIdLst>
            <p14:sldId id="2147475192"/>
            <p14:sldId id="2147475193"/>
            <p14:sldId id="2147475194"/>
            <p14:sldId id="2147475195"/>
          </p14:sldIdLst>
        </p14:section>
        <p14:section name="Schick Dispo" id="{B04FD1DA-745A-440E-A27A-D04CD0787ED5}">
          <p14:sldIdLst>
            <p14:sldId id="2147475196"/>
            <p14:sldId id="2147475197"/>
            <p14:sldId id="2147475198"/>
            <p14:sldId id="2147475199"/>
          </p14:sldIdLst>
        </p14:section>
        <p14:section name="Schick Razor" id="{1EAED06F-F0FB-47E0-83E5-58F0B06214E8}">
          <p14:sldIdLst>
            <p14:sldId id="2147475200"/>
            <p14:sldId id="2147475201"/>
            <p14:sldId id="2147475202"/>
            <p14:sldId id="2147475203"/>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61C379-29A0-4008-AA74-7560A203FDDD}" v="98" dt="2025-07-24T09:00:02.1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98" d="100"/>
          <a:sy n="98" d="100"/>
        </p:scale>
        <p:origin x="1046" y="72"/>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Kirkland Disposable Razors 20 pack </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spPr>
              <a:solidFill>
                <a:srgbClr val="006C6D"/>
              </a:solidFill>
            </c:spPr>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r>
                      <a:rPr lang="fr-FR" sz="500">
                        <a:solidFill>
                          <a:srgbClr val="006C6D"/>
                        </a:solidFill>
                      </a:rPr>
                      <a:t>Kirkland Disposable Razors 20 pack </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Mach 3 Advanced Refills 20 Pack</c:v>
                </c:pt>
                <c:pt idx="2">
                  <c:v>Gillette Custom Plus 3 Sensitive Disposable Razors 30 Pack</c:v>
                </c:pt>
                <c:pt idx="3">
                  <c:v>Kirkland Disposable Razors 20 pack </c:v>
                </c:pt>
                <c:pt idx="4">
                  <c:v>None Razors</c:v>
                </c:pt>
                <c:pt idx="5">
                  <c:v>Harry's Razor Set Chrome Edition 1 Handle + 13 Cartridges</c:v>
                </c:pt>
              </c:strCache>
            </c:strRef>
          </c:cat>
          <c:val>
            <c:numRef>
              <c:f>Sheet1!$B$2:$B$7</c:f>
              <c:numCache>
                <c:formatCode>General</c:formatCode>
                <c:ptCount val="6"/>
                <c:pt idx="0">
                  <c:v>0.61661475995393766</c:v>
                </c:pt>
                <c:pt idx="1">
                  <c:v>0.38338524004606234</c:v>
                </c:pt>
                <c:pt idx="2">
                  <c:v>0.35577270790922322</c:v>
                </c:pt>
                <c:pt idx="3">
                  <c:v>0.26486839760964004</c:v>
                </c:pt>
                <c:pt idx="4">
                  <c:v>0.24035397268791103</c:v>
                </c:pt>
                <c:pt idx="5">
                  <c:v>0.13900492179322577</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3 Ultra Sensitive Refills 20 Pack</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006C6D"/>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r>
                      <a:rPr lang="en-GB" sz="500">
                        <a:solidFill>
                          <a:srgbClr val="006C6D"/>
                        </a:solidFill>
                      </a:rPr>
                      <a:t>Schick Hydro 3 Ultra Sensitive Refills 20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Custom Plus 3 Sensitive Disposable Razors 30 Pack</c:v>
                </c:pt>
                <c:pt idx="1">
                  <c:v>Gillette Proglide Plus Refills 16 Pack</c:v>
                </c:pt>
                <c:pt idx="2">
                  <c:v>None Razors</c:v>
                </c:pt>
                <c:pt idx="3">
                  <c:v>Gillette Mach 3 Advanced Refills 20 Pack</c:v>
                </c:pt>
                <c:pt idx="4">
                  <c:v>Schick Hydro 3 Ultra Sensitive Refills 20 Pack</c:v>
                </c:pt>
                <c:pt idx="5">
                  <c:v>Harry's Razor Set Chrome Edition 1 Handle + 13 Cartridges</c:v>
                </c:pt>
              </c:strCache>
            </c:strRef>
          </c:cat>
          <c:val>
            <c:numRef>
              <c:f>Sheet1!$B$2:$B$7</c:f>
              <c:numCache>
                <c:formatCode>General</c:formatCode>
                <c:ptCount val="6"/>
                <c:pt idx="0">
                  <c:v>0.51972581924980665</c:v>
                </c:pt>
                <c:pt idx="1">
                  <c:v>0.47872706973683826</c:v>
                </c:pt>
                <c:pt idx="2">
                  <c:v>0.30137091989253156</c:v>
                </c:pt>
                <c:pt idx="3">
                  <c:v>0.29526355654427316</c:v>
                </c:pt>
                <c:pt idx="4">
                  <c:v>0.22600937371888863</c:v>
                </c:pt>
                <c:pt idx="5">
                  <c:v>0.17890326085766167</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Schick Blade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Hydro 5 Blade Sensitive Refills 16 Pack @24.99</c:v>
                </c:pt>
                <c:pt idx="1">
                  <c:v>Schick Hydro 3 Ultra Sensitive Refills 20 Pack @16.99</c:v>
                </c:pt>
              </c:strCache>
            </c:strRef>
          </c:cat>
          <c:val>
            <c:numRef>
              <c:f>Sheet1!$B$2:$B$3</c:f>
              <c:numCache>
                <c:formatCode>General</c:formatCode>
                <c:ptCount val="2"/>
                <c:pt idx="0">
                  <c:v>100</c:v>
                </c:pt>
                <c:pt idx="1">
                  <c:v>100</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Schick Blade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Hydro 5 Blade Sensitive Refills 16 Pack @24.99</c:v>
                </c:pt>
                <c:pt idx="1">
                  <c:v>Schick Hydro 3 Ultra Sensitive Refills 20 Pack @16.99</c:v>
                </c:pt>
              </c:strCache>
            </c:strRef>
          </c:cat>
          <c:val>
            <c:numRef>
              <c:f>Sheet1!$C$2:$C$3</c:f>
              <c:numCache>
                <c:formatCode>General</c:formatCode>
                <c:ptCount val="2"/>
                <c:pt idx="0">
                  <c:v>100</c:v>
                </c:pt>
                <c:pt idx="1">
                  <c:v>100</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Schick Blade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Hydro 5 Blade Sensitive Refills 16 Pack @24.99</c:v>
                </c:pt>
                <c:pt idx="1">
                  <c:v>Schick Hydro 3 Ultra Sensitive Refills 20 Pack @16.99</c:v>
                </c:pt>
              </c:strCache>
            </c:strRef>
          </c:cat>
          <c:val>
            <c:numRef>
              <c:f>Sheet1!$D$2:$D$3</c:f>
              <c:numCache>
                <c:formatCode>General</c:formatCode>
                <c:ptCount val="2"/>
                <c:pt idx="0">
                  <c:v>100</c:v>
                </c:pt>
                <c:pt idx="1">
                  <c:v>100</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Schick Hydro 5 Blade Sensitive Refills 16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Proglide Plus Refills 16 Pack</c:v>
                </c:pt>
                <c:pt idx="1">
                  <c:v>Gillette Mach 3 Advanced Refills 20 Pack</c:v>
                </c:pt>
                <c:pt idx="2">
                  <c:v>Schick Xtreme 3 Sensitive Disposable Razors 20 Pack</c:v>
                </c:pt>
                <c:pt idx="3">
                  <c:v>Schick Xtreme 3 Sensitive Disposable Razors 30 Pack</c:v>
                </c:pt>
                <c:pt idx="4">
                  <c:v>Schick Xtreme 5 Disposable Razors 9 Pack</c:v>
                </c:pt>
                <c:pt idx="5">
                  <c:v>Kirkland Disposable Razors 20 pack </c:v>
                </c:pt>
                <c:pt idx="6">
                  <c:v>Schick Xtreme 2 Sensitive Disposable Razors 48 Pack</c:v>
                </c:pt>
                <c:pt idx="7">
                  <c:v>Schick Xtreme 2 Sensitive Disposable Razors 60 Pack</c:v>
                </c:pt>
                <c:pt idx="8">
                  <c:v>Gillette Sensor 2 Plus Disposable Razors 52 Pack</c:v>
                </c:pt>
                <c:pt idx="9">
                  <c:v>Gillette Sensor 3 Sensitive Disposable Razors 24 Pack</c:v>
                </c:pt>
                <c:pt idx="10">
                  <c:v>Bic Flex 5 Disposable Razors 9 Pack </c:v>
                </c:pt>
              </c:strCache>
            </c:strRef>
          </c:cat>
          <c:val>
            <c:numRef>
              <c:f>Sheet1!$B$2:$B$12</c:f>
              <c:numCache>
                <c:formatCode>General</c:formatCode>
                <c:ptCount val="11"/>
                <c:pt idx="0">
                  <c:v>0.61851791673115797</c:v>
                </c:pt>
                <c:pt idx="1">
                  <c:v>0.38148208326884153</c:v>
                </c:pt>
                <c:pt idx="2">
                  <c:v>0</c:v>
                </c:pt>
                <c:pt idx="3">
                  <c:v>0</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Schick Hydro 3 Ultra Sensitive Refills 20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Proglide Plus Refills 16 Pack</c:v>
                </c:pt>
                <c:pt idx="1">
                  <c:v>Gillette Mach 3 Advanced Refills 20 Pack</c:v>
                </c:pt>
                <c:pt idx="2">
                  <c:v>Schick Xtreme 3 Sensitive Disposable Razors 20 Pack</c:v>
                </c:pt>
                <c:pt idx="3">
                  <c:v>Schick Xtreme 3 Sensitive Disposable Razors 30 Pack</c:v>
                </c:pt>
                <c:pt idx="4">
                  <c:v>Schick Xtreme 5 Disposable Razors 9 Pack</c:v>
                </c:pt>
                <c:pt idx="5">
                  <c:v>Kirkland Disposable Razors 20 pack </c:v>
                </c:pt>
                <c:pt idx="6">
                  <c:v>Schick Xtreme 2 Sensitive Disposable Razors 48 Pack</c:v>
                </c:pt>
                <c:pt idx="7">
                  <c:v>Schick Xtreme 2 Sensitive Disposable Razors 60 Pack</c:v>
                </c:pt>
                <c:pt idx="8">
                  <c:v>Gillette Sensor 2 Plus Disposable Razors 52 Pack</c:v>
                </c:pt>
                <c:pt idx="9">
                  <c:v>Gillette Sensor 3 Sensitive Disposable Razors 24 Pack</c:v>
                </c:pt>
                <c:pt idx="10">
                  <c:v>Bic Flex 5 Disposable Razors 9 Pack </c:v>
                </c:pt>
              </c:strCache>
            </c:strRef>
          </c:cat>
          <c:val>
            <c:numRef>
              <c:f>Sheet1!$B$2:$B$12</c:f>
              <c:numCache>
                <c:formatCode>General</c:formatCode>
                <c:ptCount val="11"/>
                <c:pt idx="0">
                  <c:v>0.61851791673115808</c:v>
                </c:pt>
                <c:pt idx="1">
                  <c:v>0.38148208326884098</c:v>
                </c:pt>
                <c:pt idx="2">
                  <c:v>0</c:v>
                </c:pt>
                <c:pt idx="3">
                  <c:v>0</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Xtreme 3 Sensitive Disposable Razors 20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spPr>
              <a:solidFill>
                <a:srgbClr val="006C6D"/>
              </a:solidFill>
            </c:spPr>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r>
                      <a:rPr lang="en-GB" sz="500">
                        <a:solidFill>
                          <a:srgbClr val="006C6D"/>
                        </a:solidFill>
                      </a:rPr>
                      <a:t>Schick Xtreme 3 Sensitive Disposable Razors 20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Mach 3 Advanced Refills 20 Pack</c:v>
                </c:pt>
                <c:pt idx="2">
                  <c:v>Gillette Custom Plus 3 Sensitive Disposable Razors 30 Pack</c:v>
                </c:pt>
                <c:pt idx="3">
                  <c:v>Schick Xtreme 3 Sensitive Disposable Razors 20 Pack</c:v>
                </c:pt>
                <c:pt idx="4">
                  <c:v>None Razors</c:v>
                </c:pt>
                <c:pt idx="5">
                  <c:v>Harry's Razor Set Chrome Edition 1 Handle + 13 Cartridges</c:v>
                </c:pt>
              </c:strCache>
            </c:strRef>
          </c:cat>
          <c:val>
            <c:numRef>
              <c:f>Sheet1!$B$2:$B$7</c:f>
              <c:numCache>
                <c:formatCode>General</c:formatCode>
                <c:ptCount val="6"/>
                <c:pt idx="0">
                  <c:v>0.61546209253451079</c:v>
                </c:pt>
                <c:pt idx="1">
                  <c:v>0.38453790746548921</c:v>
                </c:pt>
                <c:pt idx="2">
                  <c:v>0.34541372612421328</c:v>
                </c:pt>
                <c:pt idx="3">
                  <c:v>0.29402310083593247</c:v>
                </c:pt>
                <c:pt idx="4">
                  <c:v>0.22714335327795107</c:v>
                </c:pt>
                <c:pt idx="5">
                  <c:v>0.13341981976190317</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Xtreme 3 Sensitive Disposable Razors 30 Pack</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006C6D"/>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r>
                      <a:rPr lang="en-GB" sz="500">
                        <a:solidFill>
                          <a:srgbClr val="006C6D"/>
                        </a:solidFill>
                      </a:rPr>
                      <a:t>Schick Xtreme 3 Sensitive Disposable Razors 30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Mach 3 Advanced Refills 20 Pack</c:v>
                </c:pt>
                <c:pt idx="2">
                  <c:v>Gillette Custom Plus 3 Sensitive Disposable Razors 30 Pack</c:v>
                </c:pt>
                <c:pt idx="3">
                  <c:v>None Razors</c:v>
                </c:pt>
                <c:pt idx="4">
                  <c:v>Schick Xtreme 3 Sensitive Disposable Razors 30 Pack</c:v>
                </c:pt>
                <c:pt idx="5">
                  <c:v>Harry's Razor Set Chrome Edition 1 Handle + 13 Cartridges</c:v>
                </c:pt>
              </c:strCache>
            </c:strRef>
          </c:cat>
          <c:val>
            <c:numRef>
              <c:f>Sheet1!$B$2:$B$7</c:f>
              <c:numCache>
                <c:formatCode>General</c:formatCode>
                <c:ptCount val="6"/>
                <c:pt idx="0">
                  <c:v>0.61682191451782875</c:v>
                </c:pt>
                <c:pt idx="1">
                  <c:v>0.38317808548217125</c:v>
                </c:pt>
                <c:pt idx="2">
                  <c:v>0.35290414889495375</c:v>
                </c:pt>
                <c:pt idx="3">
                  <c:v>0.25498164144607405</c:v>
                </c:pt>
                <c:pt idx="4">
                  <c:v>0.24608709953699362</c:v>
                </c:pt>
                <c:pt idx="5">
                  <c:v>0.1460271101219785</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Xtreme 2 Sensitive Disposable Razors 48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006C6D"/>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r>
                      <a:rPr lang="en-GB" sz="500">
                        <a:solidFill>
                          <a:srgbClr val="006C6D"/>
                        </a:solidFill>
                      </a:rPr>
                      <a:t>Schick Xtreme 2 Sensitive Disposable Razors 48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Mach 3 Advanced Refills 20 Pack</c:v>
                </c:pt>
                <c:pt idx="2">
                  <c:v>Gillette Custom Plus 3 Sensitive Disposable Razors 30 Pack</c:v>
                </c:pt>
                <c:pt idx="3">
                  <c:v>None Razors</c:v>
                </c:pt>
                <c:pt idx="4">
                  <c:v>Schick Xtreme 2 Sensitive Disposable Razors 48 Pack</c:v>
                </c:pt>
                <c:pt idx="5">
                  <c:v>Harry's Razor Set Chrome Edition 1 Handle + 13 Cartridges</c:v>
                </c:pt>
              </c:strCache>
            </c:strRef>
          </c:cat>
          <c:val>
            <c:numRef>
              <c:f>Sheet1!$B$2:$B$7</c:f>
              <c:numCache>
                <c:formatCode>General</c:formatCode>
                <c:ptCount val="6"/>
                <c:pt idx="0">
                  <c:v>0.61700030419285812</c:v>
                </c:pt>
                <c:pt idx="1">
                  <c:v>0.38299969580714177</c:v>
                </c:pt>
                <c:pt idx="2">
                  <c:v>0.36843110392964262</c:v>
                </c:pt>
                <c:pt idx="3">
                  <c:v>0.25175366702442353</c:v>
                </c:pt>
                <c:pt idx="4">
                  <c:v>0.24069379684751988</c:v>
                </c:pt>
                <c:pt idx="5">
                  <c:v>0.13912143219841419</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Xtreme 2 Sensitive Disposable Razors 60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006C6D"/>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r>
                      <a:rPr lang="en-GB" sz="500">
                        <a:solidFill>
                          <a:srgbClr val="006C6D"/>
                        </a:solidFill>
                      </a:rPr>
                      <a:t>Schick Xtreme 2 Sensitive Disposable Razors 60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Custom Plus 3 Sensitive Disposable Razors 30 Pack</c:v>
                </c:pt>
                <c:pt idx="2">
                  <c:v>Gillette Mach 3 Advanced Refills 20 Pack</c:v>
                </c:pt>
                <c:pt idx="3">
                  <c:v>None Razors</c:v>
                </c:pt>
                <c:pt idx="4">
                  <c:v>Schick Xtreme 2 Sensitive Disposable Razors 60 Pack</c:v>
                </c:pt>
                <c:pt idx="5">
                  <c:v>Harry's Razor Set Chrome Edition 1 Handle + 13 Cartridges</c:v>
                </c:pt>
              </c:strCache>
            </c:strRef>
          </c:cat>
          <c:val>
            <c:numRef>
              <c:f>Sheet1!$B$2:$B$7</c:f>
              <c:numCache>
                <c:formatCode>General</c:formatCode>
                <c:ptCount val="6"/>
                <c:pt idx="0">
                  <c:v>0.61713733276958471</c:v>
                </c:pt>
                <c:pt idx="1">
                  <c:v>0.3839015575132797</c:v>
                </c:pt>
                <c:pt idx="2">
                  <c:v>0.38286266723041534</c:v>
                </c:pt>
                <c:pt idx="3">
                  <c:v>0.26696313057087451</c:v>
                </c:pt>
                <c:pt idx="4">
                  <c:v>0.20007849298690297</c:v>
                </c:pt>
                <c:pt idx="5">
                  <c:v>0.14905681892894296</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Xtreme 5 Disposable Razors 9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83E0-4716-877A-8084D4846F88}"/>
              </c:ext>
            </c:extLst>
          </c:dPt>
          <c:dPt>
            <c:idx val="1"/>
            <c:invertIfNegative val="1"/>
            <c:bubble3D val="0"/>
            <c:spPr>
              <a:solidFill>
                <a:srgbClr val="AEABAB"/>
              </a:solidFill>
            </c:spPr>
            <c:extLst>
              <c:ext xmlns:c16="http://schemas.microsoft.com/office/drawing/2014/chart" uri="{C3380CC4-5D6E-409C-BE32-E72D297353CC}">
                <c16:uniqueId val="{00000003-83E0-4716-877A-8084D4846F88}"/>
              </c:ext>
            </c:extLst>
          </c:dPt>
          <c:dPt>
            <c:idx val="2"/>
            <c:invertIfNegative val="1"/>
            <c:bubble3D val="0"/>
            <c:spPr>
              <a:solidFill>
                <a:srgbClr val="AEABAB"/>
              </a:solidFill>
            </c:spPr>
            <c:extLst>
              <c:ext xmlns:c16="http://schemas.microsoft.com/office/drawing/2014/chart" uri="{C3380CC4-5D6E-409C-BE32-E72D297353CC}">
                <c16:uniqueId val="{00000005-83E0-4716-877A-8084D4846F88}"/>
              </c:ext>
            </c:extLst>
          </c:dPt>
          <c:dPt>
            <c:idx val="3"/>
            <c:invertIfNegative val="0"/>
            <c:bubble3D val="0"/>
            <c:spPr>
              <a:solidFill>
                <a:srgbClr val="006C6D"/>
              </a:solidFill>
            </c:spPr>
            <c:extLst>
              <c:ext xmlns:c16="http://schemas.microsoft.com/office/drawing/2014/chart" uri="{C3380CC4-5D6E-409C-BE32-E72D297353CC}">
                <c16:uniqueId val="{00000007-83E0-4716-877A-8084D4846F88}"/>
              </c:ext>
            </c:extLst>
          </c:dPt>
          <c:dPt>
            <c:idx val="4"/>
            <c:invertIfNegative val="1"/>
            <c:bubble3D val="0"/>
            <c:spPr>
              <a:solidFill>
                <a:srgbClr val="AEABAB"/>
              </a:solidFill>
            </c:spPr>
            <c:extLst>
              <c:ext xmlns:c16="http://schemas.microsoft.com/office/drawing/2014/chart" uri="{C3380CC4-5D6E-409C-BE32-E72D297353CC}">
                <c16:uniqueId val="{00000009-83E0-4716-877A-8084D4846F88}"/>
              </c:ext>
            </c:extLst>
          </c:dPt>
          <c:dPt>
            <c:idx val="5"/>
            <c:invertIfNegative val="1"/>
            <c:bubble3D val="0"/>
            <c:spPr>
              <a:solidFill>
                <a:srgbClr val="AEABAB"/>
              </a:solidFill>
            </c:spPr>
            <c:extLst>
              <c:ext xmlns:c16="http://schemas.microsoft.com/office/drawing/2014/chart" uri="{C3380CC4-5D6E-409C-BE32-E72D297353CC}">
                <c16:uniqueId val="{0000000B-83E0-4716-877A-8084D4846F88}"/>
              </c:ext>
            </c:extLst>
          </c:dPt>
          <c:dPt>
            <c:idx val="6"/>
            <c:invertIfNegative val="1"/>
            <c:bubble3D val="0"/>
            <c:spPr>
              <a:solidFill>
                <a:srgbClr val="AEABAB"/>
              </a:solidFill>
            </c:spPr>
            <c:extLst>
              <c:ext xmlns:c16="http://schemas.microsoft.com/office/drawing/2014/chart" uri="{C3380CC4-5D6E-409C-BE32-E72D297353CC}">
                <c16:uniqueId val="{0000000D-83E0-4716-877A-8084D4846F88}"/>
              </c:ext>
            </c:extLst>
          </c:dPt>
          <c:dPt>
            <c:idx val="7"/>
            <c:invertIfNegative val="1"/>
            <c:bubble3D val="0"/>
            <c:spPr>
              <a:solidFill>
                <a:srgbClr val="AEABAB"/>
              </a:solidFill>
            </c:spPr>
            <c:extLst>
              <c:ext xmlns:c16="http://schemas.microsoft.com/office/drawing/2014/chart" uri="{C3380CC4-5D6E-409C-BE32-E72D297353CC}">
                <c16:uniqueId val="{0000000F-83E0-4716-877A-8084D4846F88}"/>
              </c:ext>
            </c:extLst>
          </c:dPt>
          <c:dPt>
            <c:idx val="8"/>
            <c:invertIfNegative val="1"/>
            <c:bubble3D val="0"/>
            <c:spPr>
              <a:solidFill>
                <a:srgbClr val="AEABAB"/>
              </a:solidFill>
            </c:spPr>
            <c:extLst>
              <c:ext xmlns:c16="http://schemas.microsoft.com/office/drawing/2014/chart" uri="{C3380CC4-5D6E-409C-BE32-E72D297353CC}">
                <c16:uniqueId val="{00000011-83E0-4716-877A-8084D4846F88}"/>
              </c:ext>
            </c:extLst>
          </c:dPt>
          <c:dPt>
            <c:idx val="9"/>
            <c:invertIfNegative val="1"/>
            <c:bubble3D val="0"/>
            <c:spPr>
              <a:solidFill>
                <a:srgbClr val="AEABAB"/>
              </a:solidFill>
            </c:spPr>
            <c:extLst>
              <c:ext xmlns:c16="http://schemas.microsoft.com/office/drawing/2014/chart" uri="{C3380CC4-5D6E-409C-BE32-E72D297353CC}">
                <c16:uniqueId val="{00000013-83E0-4716-877A-8084D4846F88}"/>
              </c:ext>
            </c:extLst>
          </c:dPt>
          <c:dPt>
            <c:idx val="10"/>
            <c:invertIfNegative val="1"/>
            <c:bubble3D val="0"/>
            <c:spPr>
              <a:solidFill>
                <a:srgbClr val="AEABAB"/>
              </a:solidFill>
            </c:spPr>
            <c:extLst>
              <c:ext xmlns:c16="http://schemas.microsoft.com/office/drawing/2014/chart" uri="{C3380CC4-5D6E-409C-BE32-E72D297353CC}">
                <c16:uniqueId val="{00000015-83E0-4716-877A-8084D4846F88}"/>
              </c:ext>
            </c:extLst>
          </c:dPt>
          <c:dPt>
            <c:idx val="11"/>
            <c:invertIfNegative val="1"/>
            <c:bubble3D val="0"/>
            <c:spPr>
              <a:solidFill>
                <a:srgbClr val="AEABAB"/>
              </a:solidFill>
            </c:spPr>
            <c:extLst>
              <c:ext xmlns:c16="http://schemas.microsoft.com/office/drawing/2014/chart" uri="{C3380CC4-5D6E-409C-BE32-E72D297353CC}">
                <c16:uniqueId val="{00000017-83E0-4716-877A-8084D4846F88}"/>
              </c:ext>
            </c:extLst>
          </c:dPt>
          <c:dPt>
            <c:idx val="12"/>
            <c:invertIfNegative val="1"/>
            <c:bubble3D val="0"/>
            <c:spPr>
              <a:solidFill>
                <a:srgbClr val="AEABAB"/>
              </a:solidFill>
            </c:spPr>
            <c:extLst>
              <c:ext xmlns:c16="http://schemas.microsoft.com/office/drawing/2014/chart" uri="{C3380CC4-5D6E-409C-BE32-E72D297353CC}">
                <c16:uniqueId val="{00000019-83E0-4716-877A-8084D4846F88}"/>
              </c:ext>
            </c:extLst>
          </c:dPt>
          <c:dPt>
            <c:idx val="13"/>
            <c:invertIfNegative val="1"/>
            <c:bubble3D val="0"/>
            <c:spPr>
              <a:solidFill>
                <a:srgbClr val="AEABAB"/>
              </a:solidFill>
            </c:spPr>
            <c:extLst>
              <c:ext xmlns:c16="http://schemas.microsoft.com/office/drawing/2014/chart" uri="{C3380CC4-5D6E-409C-BE32-E72D297353CC}">
                <c16:uniqueId val="{0000001B-83E0-4716-877A-8084D4846F88}"/>
              </c:ext>
            </c:extLst>
          </c:dPt>
          <c:dPt>
            <c:idx val="14"/>
            <c:invertIfNegative val="0"/>
            <c:bubble3D val="0"/>
            <c:extLst>
              <c:ext xmlns:c16="http://schemas.microsoft.com/office/drawing/2014/chart" uri="{C3380CC4-5D6E-409C-BE32-E72D297353CC}">
                <c16:uniqueId val="{0000001D-83E0-4716-877A-8084D4846F88}"/>
              </c:ext>
            </c:extLst>
          </c:dPt>
          <c:dPt>
            <c:idx val="15"/>
            <c:invertIfNegative val="1"/>
            <c:bubble3D val="0"/>
            <c:spPr>
              <a:solidFill>
                <a:srgbClr val="AEABAB"/>
              </a:solidFill>
            </c:spPr>
            <c:extLst>
              <c:ext xmlns:c16="http://schemas.microsoft.com/office/drawing/2014/chart" uri="{C3380CC4-5D6E-409C-BE32-E72D297353CC}">
                <c16:uniqueId val="{0000001F-83E0-4716-877A-8084D4846F88}"/>
              </c:ext>
            </c:extLst>
          </c:dPt>
          <c:dPt>
            <c:idx val="16"/>
            <c:invertIfNegative val="1"/>
            <c:bubble3D val="0"/>
            <c:spPr>
              <a:solidFill>
                <a:srgbClr val="AEABAB"/>
              </a:solidFill>
            </c:spPr>
            <c:extLst>
              <c:ext xmlns:c16="http://schemas.microsoft.com/office/drawing/2014/chart" uri="{C3380CC4-5D6E-409C-BE32-E72D297353CC}">
                <c16:uniqueId val="{00000021-83E0-4716-877A-8084D4846F88}"/>
              </c:ext>
            </c:extLst>
          </c:dPt>
          <c:dPt>
            <c:idx val="17"/>
            <c:invertIfNegative val="0"/>
            <c:bubble3D val="0"/>
            <c:extLst>
              <c:ext xmlns:c16="http://schemas.microsoft.com/office/drawing/2014/chart" uri="{C3380CC4-5D6E-409C-BE32-E72D297353CC}">
                <c16:uniqueId val="{00000023-83E0-4716-877A-8084D4846F88}"/>
              </c:ext>
            </c:extLst>
          </c:dPt>
          <c:dPt>
            <c:idx val="18"/>
            <c:invertIfNegative val="1"/>
            <c:bubble3D val="0"/>
            <c:spPr>
              <a:solidFill>
                <a:srgbClr val="AEABAB"/>
              </a:solidFill>
            </c:spPr>
            <c:extLst>
              <c:ext xmlns:c16="http://schemas.microsoft.com/office/drawing/2014/chart" uri="{C3380CC4-5D6E-409C-BE32-E72D297353CC}">
                <c16:uniqueId val="{00000025-83E0-4716-877A-8084D4846F88}"/>
              </c:ext>
            </c:extLst>
          </c:dPt>
          <c:dPt>
            <c:idx val="19"/>
            <c:invertIfNegative val="1"/>
            <c:bubble3D val="0"/>
            <c:spPr>
              <a:solidFill>
                <a:srgbClr val="AEABAB"/>
              </a:solidFill>
            </c:spPr>
            <c:extLst>
              <c:ext xmlns:c16="http://schemas.microsoft.com/office/drawing/2014/chart" uri="{C3380CC4-5D6E-409C-BE32-E72D297353CC}">
                <c16:uniqueId val="{00000027-83E0-4716-877A-8084D4846F88}"/>
              </c:ext>
            </c:extLst>
          </c:dPt>
          <c:dPt>
            <c:idx val="20"/>
            <c:invertIfNegative val="1"/>
            <c:bubble3D val="0"/>
            <c:spPr>
              <a:solidFill>
                <a:srgbClr val="AEABAB"/>
              </a:solidFill>
            </c:spPr>
            <c:extLst>
              <c:ext xmlns:c16="http://schemas.microsoft.com/office/drawing/2014/chart" uri="{C3380CC4-5D6E-409C-BE32-E72D297353CC}">
                <c16:uniqueId val="{00000029-83E0-4716-877A-8084D4846F88}"/>
              </c:ext>
            </c:extLst>
          </c:dPt>
          <c:dPt>
            <c:idx val="21"/>
            <c:invertIfNegative val="1"/>
            <c:bubble3D val="0"/>
            <c:spPr>
              <a:solidFill>
                <a:srgbClr val="AEABAB"/>
              </a:solidFill>
            </c:spPr>
            <c:extLst>
              <c:ext xmlns:c16="http://schemas.microsoft.com/office/drawing/2014/chart" uri="{C3380CC4-5D6E-409C-BE32-E72D297353CC}">
                <c16:uniqueId val="{0000002B-83E0-4716-877A-8084D4846F88}"/>
              </c:ext>
            </c:extLst>
          </c:dPt>
          <c:dPt>
            <c:idx val="22"/>
            <c:invertIfNegative val="1"/>
            <c:bubble3D val="0"/>
            <c:spPr>
              <a:solidFill>
                <a:srgbClr val="AEABAB"/>
              </a:solidFill>
            </c:spPr>
            <c:extLst>
              <c:ext xmlns:c16="http://schemas.microsoft.com/office/drawing/2014/chart" uri="{C3380CC4-5D6E-409C-BE32-E72D297353CC}">
                <c16:uniqueId val="{0000002D-83E0-4716-877A-8084D4846F88}"/>
              </c:ext>
            </c:extLst>
          </c:dPt>
          <c:dPt>
            <c:idx val="23"/>
            <c:invertIfNegative val="1"/>
            <c:bubble3D val="0"/>
            <c:spPr>
              <a:solidFill>
                <a:srgbClr val="AEABAB"/>
              </a:solidFill>
            </c:spPr>
            <c:extLst>
              <c:ext xmlns:c16="http://schemas.microsoft.com/office/drawing/2014/chart" uri="{C3380CC4-5D6E-409C-BE32-E72D297353CC}">
                <c16:uniqueId val="{0000002F-83E0-4716-877A-8084D4846F88}"/>
              </c:ext>
            </c:extLst>
          </c:dPt>
          <c:dPt>
            <c:idx val="24"/>
            <c:invertIfNegative val="1"/>
            <c:bubble3D val="0"/>
            <c:spPr>
              <a:solidFill>
                <a:srgbClr val="AEABAB"/>
              </a:solidFill>
            </c:spPr>
            <c:extLst>
              <c:ext xmlns:c16="http://schemas.microsoft.com/office/drawing/2014/chart" uri="{C3380CC4-5D6E-409C-BE32-E72D297353CC}">
                <c16:uniqueId val="{00000031-83E0-4716-877A-8084D4846F88}"/>
              </c:ext>
            </c:extLst>
          </c:dPt>
          <c:dPt>
            <c:idx val="25"/>
            <c:invertIfNegative val="1"/>
            <c:bubble3D val="0"/>
            <c:spPr>
              <a:solidFill>
                <a:srgbClr val="AEABAB"/>
              </a:solidFill>
            </c:spPr>
            <c:extLst>
              <c:ext xmlns:c16="http://schemas.microsoft.com/office/drawing/2014/chart" uri="{C3380CC4-5D6E-409C-BE32-E72D297353CC}">
                <c16:uniqueId val="{00000033-83E0-4716-877A-8084D4846F88}"/>
              </c:ext>
            </c:extLst>
          </c:dPt>
          <c:dPt>
            <c:idx val="26"/>
            <c:invertIfNegative val="1"/>
            <c:bubble3D val="0"/>
            <c:spPr>
              <a:solidFill>
                <a:srgbClr val="AEABAB"/>
              </a:solidFill>
            </c:spPr>
            <c:extLst>
              <c:ext xmlns:c16="http://schemas.microsoft.com/office/drawing/2014/chart" uri="{C3380CC4-5D6E-409C-BE32-E72D297353CC}">
                <c16:uniqueId val="{00000035-83E0-4716-877A-8084D4846F88}"/>
              </c:ext>
            </c:extLst>
          </c:dPt>
          <c:dPt>
            <c:idx val="27"/>
            <c:invertIfNegative val="1"/>
            <c:bubble3D val="0"/>
            <c:spPr>
              <a:solidFill>
                <a:srgbClr val="AEABAB"/>
              </a:solidFill>
            </c:spPr>
            <c:extLst>
              <c:ext xmlns:c16="http://schemas.microsoft.com/office/drawing/2014/chart" uri="{C3380CC4-5D6E-409C-BE32-E72D297353CC}">
                <c16:uniqueId val="{00000037-83E0-4716-877A-8084D4846F88}"/>
              </c:ext>
            </c:extLst>
          </c:dPt>
          <c:dPt>
            <c:idx val="28"/>
            <c:invertIfNegative val="1"/>
            <c:bubble3D val="0"/>
            <c:spPr>
              <a:solidFill>
                <a:srgbClr val="AEABAB"/>
              </a:solidFill>
            </c:spPr>
            <c:extLst>
              <c:ext xmlns:c16="http://schemas.microsoft.com/office/drawing/2014/chart" uri="{C3380CC4-5D6E-409C-BE32-E72D297353CC}">
                <c16:uniqueId val="{00000039-83E0-4716-877A-8084D4846F88}"/>
              </c:ext>
            </c:extLst>
          </c:dPt>
          <c:dPt>
            <c:idx val="29"/>
            <c:invertIfNegative val="1"/>
            <c:bubble3D val="0"/>
            <c:spPr>
              <a:solidFill>
                <a:srgbClr val="AEABAB"/>
              </a:solidFill>
            </c:spPr>
            <c:extLst>
              <c:ext xmlns:c16="http://schemas.microsoft.com/office/drawing/2014/chart" uri="{C3380CC4-5D6E-409C-BE32-E72D297353CC}">
                <c16:uniqueId val="{0000003B-83E0-4716-877A-8084D4846F88}"/>
              </c:ext>
            </c:extLst>
          </c:dPt>
          <c:dPt>
            <c:idx val="30"/>
            <c:invertIfNegative val="1"/>
            <c:bubble3D val="0"/>
            <c:spPr>
              <a:solidFill>
                <a:srgbClr val="AEABAB"/>
              </a:solidFill>
            </c:spPr>
            <c:extLst>
              <c:ext xmlns:c16="http://schemas.microsoft.com/office/drawing/2014/chart" uri="{C3380CC4-5D6E-409C-BE32-E72D297353CC}">
                <c16:uniqueId val="{0000003D-83E0-4716-877A-8084D4846F88}"/>
              </c:ext>
            </c:extLst>
          </c:dPt>
          <c:dPt>
            <c:idx val="31"/>
            <c:invertIfNegative val="1"/>
            <c:bubble3D val="0"/>
            <c:spPr>
              <a:solidFill>
                <a:srgbClr val="AEABAB"/>
              </a:solidFill>
            </c:spPr>
            <c:extLst>
              <c:ext xmlns:c16="http://schemas.microsoft.com/office/drawing/2014/chart" uri="{C3380CC4-5D6E-409C-BE32-E72D297353CC}">
                <c16:uniqueId val="{0000003F-83E0-4716-877A-8084D4846F88}"/>
              </c:ext>
            </c:extLst>
          </c:dPt>
          <c:dPt>
            <c:idx val="32"/>
            <c:invertIfNegative val="0"/>
            <c:bubble3D val="0"/>
            <c:extLst>
              <c:ext xmlns:c16="http://schemas.microsoft.com/office/drawing/2014/chart" uri="{C3380CC4-5D6E-409C-BE32-E72D297353CC}">
                <c16:uniqueId val="{00000041-83E0-4716-877A-8084D4846F88}"/>
              </c:ext>
            </c:extLst>
          </c:dPt>
          <c:dPt>
            <c:idx val="33"/>
            <c:invertIfNegative val="1"/>
            <c:bubble3D val="0"/>
            <c:spPr>
              <a:solidFill>
                <a:srgbClr val="AEABAB"/>
              </a:solidFill>
            </c:spPr>
            <c:extLst>
              <c:ext xmlns:c16="http://schemas.microsoft.com/office/drawing/2014/chart" uri="{C3380CC4-5D6E-409C-BE32-E72D297353CC}">
                <c16:uniqueId val="{00000043-83E0-4716-877A-8084D4846F88}"/>
              </c:ext>
            </c:extLst>
          </c:dPt>
          <c:dPt>
            <c:idx val="34"/>
            <c:invertIfNegative val="1"/>
            <c:bubble3D val="0"/>
            <c:spPr>
              <a:solidFill>
                <a:srgbClr val="AEABAB"/>
              </a:solidFill>
            </c:spPr>
            <c:extLst>
              <c:ext xmlns:c16="http://schemas.microsoft.com/office/drawing/2014/chart" uri="{C3380CC4-5D6E-409C-BE32-E72D297353CC}">
                <c16:uniqueId val="{00000045-83E0-4716-877A-8084D4846F88}"/>
              </c:ext>
            </c:extLst>
          </c:dPt>
          <c:dPt>
            <c:idx val="35"/>
            <c:invertIfNegative val="1"/>
            <c:bubble3D val="0"/>
            <c:spPr>
              <a:solidFill>
                <a:srgbClr val="AEABAB"/>
              </a:solidFill>
            </c:spPr>
            <c:extLst>
              <c:ext xmlns:c16="http://schemas.microsoft.com/office/drawing/2014/chart" uri="{C3380CC4-5D6E-409C-BE32-E72D297353CC}">
                <c16:uniqueId val="{00000047-83E0-4716-877A-8084D4846F88}"/>
              </c:ext>
            </c:extLst>
          </c:dPt>
          <c:dPt>
            <c:idx val="36"/>
            <c:invertIfNegative val="1"/>
            <c:bubble3D val="0"/>
            <c:spPr>
              <a:solidFill>
                <a:srgbClr val="AEABAB"/>
              </a:solidFill>
            </c:spPr>
            <c:extLst>
              <c:ext xmlns:c16="http://schemas.microsoft.com/office/drawing/2014/chart" uri="{C3380CC4-5D6E-409C-BE32-E72D297353CC}">
                <c16:uniqueId val="{00000049-83E0-4716-877A-8084D4846F88}"/>
              </c:ext>
            </c:extLst>
          </c:dPt>
          <c:dPt>
            <c:idx val="37"/>
            <c:invertIfNegative val="1"/>
            <c:bubble3D val="0"/>
            <c:spPr>
              <a:solidFill>
                <a:srgbClr val="AEABAB"/>
              </a:solidFill>
            </c:spPr>
            <c:extLst>
              <c:ext xmlns:c16="http://schemas.microsoft.com/office/drawing/2014/chart" uri="{C3380CC4-5D6E-409C-BE32-E72D297353CC}">
                <c16:uniqueId val="{0000004B-83E0-4716-877A-8084D4846F88}"/>
              </c:ext>
            </c:extLst>
          </c:dPt>
          <c:dPt>
            <c:idx val="38"/>
            <c:invertIfNegative val="1"/>
            <c:bubble3D val="0"/>
            <c:spPr>
              <a:solidFill>
                <a:srgbClr val="AEABAB"/>
              </a:solidFill>
            </c:spPr>
            <c:extLst>
              <c:ext xmlns:c16="http://schemas.microsoft.com/office/drawing/2014/chart" uri="{C3380CC4-5D6E-409C-BE32-E72D297353CC}">
                <c16:uniqueId val="{0000004D-83E0-4716-877A-8084D4846F88}"/>
              </c:ext>
            </c:extLst>
          </c:dPt>
          <c:dPt>
            <c:idx val="39"/>
            <c:invertIfNegative val="1"/>
            <c:bubble3D val="0"/>
            <c:spPr>
              <a:solidFill>
                <a:srgbClr val="AEABAB"/>
              </a:solidFill>
            </c:spPr>
            <c:extLst>
              <c:ext xmlns:c16="http://schemas.microsoft.com/office/drawing/2014/chart" uri="{C3380CC4-5D6E-409C-BE32-E72D297353CC}">
                <c16:uniqueId val="{0000004F-83E0-4716-877A-8084D4846F88}"/>
              </c:ext>
            </c:extLst>
          </c:dPt>
          <c:dPt>
            <c:idx val="40"/>
            <c:invertIfNegative val="1"/>
            <c:bubble3D val="0"/>
            <c:spPr>
              <a:solidFill>
                <a:srgbClr val="AEABAB"/>
              </a:solidFill>
            </c:spPr>
            <c:extLst>
              <c:ext xmlns:c16="http://schemas.microsoft.com/office/drawing/2014/chart" uri="{C3380CC4-5D6E-409C-BE32-E72D297353CC}">
                <c16:uniqueId val="{00000051-83E0-4716-877A-8084D4846F88}"/>
              </c:ext>
            </c:extLst>
          </c:dPt>
          <c:dPt>
            <c:idx val="41"/>
            <c:invertIfNegative val="1"/>
            <c:bubble3D val="0"/>
            <c:spPr>
              <a:solidFill>
                <a:srgbClr val="AEABAB"/>
              </a:solidFill>
            </c:spPr>
            <c:extLst>
              <c:ext xmlns:c16="http://schemas.microsoft.com/office/drawing/2014/chart" uri="{C3380CC4-5D6E-409C-BE32-E72D297353CC}">
                <c16:uniqueId val="{00000053-83E0-4716-877A-8084D4846F88}"/>
              </c:ext>
            </c:extLst>
          </c:dPt>
          <c:dPt>
            <c:idx val="42"/>
            <c:invertIfNegative val="1"/>
            <c:bubble3D val="0"/>
            <c:spPr>
              <a:solidFill>
                <a:srgbClr val="AEABAB"/>
              </a:solidFill>
            </c:spPr>
            <c:extLst>
              <c:ext xmlns:c16="http://schemas.microsoft.com/office/drawing/2014/chart" uri="{C3380CC4-5D6E-409C-BE32-E72D297353CC}">
                <c16:uniqueId val="{00000055-83E0-4716-877A-8084D4846F88}"/>
              </c:ext>
            </c:extLst>
          </c:dPt>
          <c:dPt>
            <c:idx val="43"/>
            <c:invertIfNegative val="1"/>
            <c:bubble3D val="0"/>
            <c:spPr>
              <a:solidFill>
                <a:srgbClr val="AEABAB"/>
              </a:solidFill>
            </c:spPr>
            <c:extLst>
              <c:ext xmlns:c16="http://schemas.microsoft.com/office/drawing/2014/chart" uri="{C3380CC4-5D6E-409C-BE32-E72D297353CC}">
                <c16:uniqueId val="{00000057-83E0-4716-877A-8084D4846F88}"/>
              </c:ext>
            </c:extLst>
          </c:dPt>
          <c:dPt>
            <c:idx val="44"/>
            <c:invertIfNegative val="0"/>
            <c:bubble3D val="0"/>
            <c:extLst>
              <c:ext xmlns:c16="http://schemas.microsoft.com/office/drawing/2014/chart" uri="{C3380CC4-5D6E-409C-BE32-E72D297353CC}">
                <c16:uniqueId val="{00000059-83E0-4716-877A-8084D4846F88}"/>
              </c:ext>
            </c:extLst>
          </c:dPt>
          <c:dPt>
            <c:idx val="45"/>
            <c:invertIfNegative val="1"/>
            <c:bubble3D val="0"/>
            <c:spPr>
              <a:solidFill>
                <a:srgbClr val="AEABAB"/>
              </a:solidFill>
            </c:spPr>
            <c:extLst>
              <c:ext xmlns:c16="http://schemas.microsoft.com/office/drawing/2014/chart" uri="{C3380CC4-5D6E-409C-BE32-E72D297353CC}">
                <c16:uniqueId val="{0000005B-83E0-4716-877A-8084D4846F88}"/>
              </c:ext>
            </c:extLst>
          </c:dPt>
          <c:dPt>
            <c:idx val="46"/>
            <c:invertIfNegative val="1"/>
            <c:bubble3D val="0"/>
            <c:spPr>
              <a:solidFill>
                <a:srgbClr val="AEABAB"/>
              </a:solidFill>
            </c:spPr>
            <c:extLst>
              <c:ext xmlns:c16="http://schemas.microsoft.com/office/drawing/2014/chart" uri="{C3380CC4-5D6E-409C-BE32-E72D297353CC}">
                <c16:uniqueId val="{0000005D-83E0-4716-877A-8084D4846F88}"/>
              </c:ext>
            </c:extLst>
          </c:dPt>
          <c:dPt>
            <c:idx val="47"/>
            <c:invertIfNegative val="1"/>
            <c:bubble3D val="0"/>
            <c:spPr>
              <a:solidFill>
                <a:srgbClr val="AEABAB"/>
              </a:solidFill>
            </c:spPr>
            <c:extLst>
              <c:ext xmlns:c16="http://schemas.microsoft.com/office/drawing/2014/chart" uri="{C3380CC4-5D6E-409C-BE32-E72D297353CC}">
                <c16:uniqueId val="{0000005F-83E0-4716-877A-8084D4846F88}"/>
              </c:ext>
            </c:extLst>
          </c:dPt>
          <c:dPt>
            <c:idx val="48"/>
            <c:invertIfNegative val="1"/>
            <c:bubble3D val="0"/>
            <c:spPr>
              <a:solidFill>
                <a:srgbClr val="AEABAB"/>
              </a:solidFill>
            </c:spPr>
            <c:extLst>
              <c:ext xmlns:c16="http://schemas.microsoft.com/office/drawing/2014/chart" uri="{C3380CC4-5D6E-409C-BE32-E72D297353CC}">
                <c16:uniqueId val="{00000061-83E0-4716-877A-8084D4846F88}"/>
              </c:ext>
            </c:extLst>
          </c:dPt>
          <c:dPt>
            <c:idx val="49"/>
            <c:invertIfNegative val="0"/>
            <c:bubble3D val="0"/>
            <c:extLst>
              <c:ext xmlns:c16="http://schemas.microsoft.com/office/drawing/2014/chart" uri="{C3380CC4-5D6E-409C-BE32-E72D297353CC}">
                <c16:uniqueId val="{00000063-83E0-4716-877A-8084D4846F88}"/>
              </c:ext>
            </c:extLst>
          </c:dPt>
          <c:dPt>
            <c:idx val="50"/>
            <c:invertIfNegative val="0"/>
            <c:bubble3D val="0"/>
            <c:extLst>
              <c:ext xmlns:c16="http://schemas.microsoft.com/office/drawing/2014/chart" uri="{C3380CC4-5D6E-409C-BE32-E72D297353CC}">
                <c16:uniqueId val="{00000065-83E0-4716-877A-8084D4846F88}"/>
              </c:ext>
            </c:extLst>
          </c:dPt>
          <c:dPt>
            <c:idx val="51"/>
            <c:invertIfNegative val="1"/>
            <c:bubble3D val="0"/>
            <c:spPr>
              <a:solidFill>
                <a:srgbClr val="AEABAB"/>
              </a:solidFill>
            </c:spPr>
            <c:extLst>
              <c:ext xmlns:c16="http://schemas.microsoft.com/office/drawing/2014/chart" uri="{C3380CC4-5D6E-409C-BE32-E72D297353CC}">
                <c16:uniqueId val="{00000067-83E0-4716-877A-8084D4846F88}"/>
              </c:ext>
            </c:extLst>
          </c:dPt>
          <c:dPt>
            <c:idx val="52"/>
            <c:invertIfNegative val="1"/>
            <c:bubble3D val="0"/>
            <c:spPr>
              <a:solidFill>
                <a:srgbClr val="AEABAB"/>
              </a:solidFill>
            </c:spPr>
            <c:extLst>
              <c:ext xmlns:c16="http://schemas.microsoft.com/office/drawing/2014/chart" uri="{C3380CC4-5D6E-409C-BE32-E72D297353CC}">
                <c16:uniqueId val="{00000069-83E0-4716-877A-8084D4846F88}"/>
              </c:ext>
            </c:extLst>
          </c:dPt>
          <c:dPt>
            <c:idx val="53"/>
            <c:invertIfNegative val="1"/>
            <c:bubble3D val="0"/>
            <c:spPr>
              <a:solidFill>
                <a:srgbClr val="AEABAB"/>
              </a:solidFill>
            </c:spPr>
            <c:extLst>
              <c:ext xmlns:c16="http://schemas.microsoft.com/office/drawing/2014/chart" uri="{C3380CC4-5D6E-409C-BE32-E72D297353CC}">
                <c16:uniqueId val="{0000006B-83E0-4716-877A-8084D4846F88}"/>
              </c:ext>
            </c:extLst>
          </c:dPt>
          <c:dPt>
            <c:idx val="54"/>
            <c:invertIfNegative val="1"/>
            <c:bubble3D val="0"/>
            <c:spPr>
              <a:solidFill>
                <a:srgbClr val="AEABAB"/>
              </a:solidFill>
            </c:spPr>
            <c:extLst>
              <c:ext xmlns:c16="http://schemas.microsoft.com/office/drawing/2014/chart" uri="{C3380CC4-5D6E-409C-BE32-E72D297353CC}">
                <c16:uniqueId val="{0000006D-83E0-4716-877A-8084D4846F88}"/>
              </c:ext>
            </c:extLst>
          </c:dPt>
          <c:dPt>
            <c:idx val="55"/>
            <c:invertIfNegative val="1"/>
            <c:bubble3D val="0"/>
            <c:spPr>
              <a:solidFill>
                <a:srgbClr val="AEABAB"/>
              </a:solidFill>
            </c:spPr>
            <c:extLst>
              <c:ext xmlns:c16="http://schemas.microsoft.com/office/drawing/2014/chart" uri="{C3380CC4-5D6E-409C-BE32-E72D297353CC}">
                <c16:uniqueId val="{0000006F-83E0-4716-877A-8084D4846F88}"/>
              </c:ext>
            </c:extLst>
          </c:dPt>
          <c:dPt>
            <c:idx val="56"/>
            <c:invertIfNegative val="1"/>
            <c:bubble3D val="0"/>
            <c:spPr>
              <a:solidFill>
                <a:srgbClr val="AEABAB"/>
              </a:solidFill>
            </c:spPr>
            <c:extLst>
              <c:ext xmlns:c16="http://schemas.microsoft.com/office/drawing/2014/chart" uri="{C3380CC4-5D6E-409C-BE32-E72D297353CC}">
                <c16:uniqueId val="{00000071-83E0-4716-877A-8084D4846F88}"/>
              </c:ext>
            </c:extLst>
          </c:dPt>
          <c:dPt>
            <c:idx val="57"/>
            <c:invertIfNegative val="1"/>
            <c:bubble3D val="0"/>
            <c:spPr>
              <a:solidFill>
                <a:srgbClr val="AEABAB"/>
              </a:solidFill>
            </c:spPr>
            <c:extLst>
              <c:ext xmlns:c16="http://schemas.microsoft.com/office/drawing/2014/chart" uri="{C3380CC4-5D6E-409C-BE32-E72D297353CC}">
                <c16:uniqueId val="{00000073-83E0-4716-877A-8084D4846F88}"/>
              </c:ext>
            </c:extLst>
          </c:dPt>
          <c:dPt>
            <c:idx val="58"/>
            <c:invertIfNegative val="1"/>
            <c:bubble3D val="0"/>
            <c:spPr>
              <a:solidFill>
                <a:srgbClr val="AEABAB"/>
              </a:solidFill>
            </c:spPr>
            <c:extLst>
              <c:ext xmlns:c16="http://schemas.microsoft.com/office/drawing/2014/chart" uri="{C3380CC4-5D6E-409C-BE32-E72D297353CC}">
                <c16:uniqueId val="{00000075-83E0-4716-877A-8084D4846F88}"/>
              </c:ext>
            </c:extLst>
          </c:dPt>
          <c:dPt>
            <c:idx val="59"/>
            <c:invertIfNegative val="1"/>
            <c:bubble3D val="0"/>
            <c:spPr>
              <a:solidFill>
                <a:srgbClr val="AEABAB"/>
              </a:solidFill>
            </c:spPr>
            <c:extLst>
              <c:ext xmlns:c16="http://schemas.microsoft.com/office/drawing/2014/chart" uri="{C3380CC4-5D6E-409C-BE32-E72D297353CC}">
                <c16:uniqueId val="{00000077-83E0-4716-877A-8084D4846F88}"/>
              </c:ext>
            </c:extLst>
          </c:dPt>
          <c:dPt>
            <c:idx val="60"/>
            <c:invertIfNegative val="1"/>
            <c:bubble3D val="0"/>
            <c:spPr>
              <a:solidFill>
                <a:srgbClr val="AEABAB"/>
              </a:solidFill>
            </c:spPr>
            <c:extLst>
              <c:ext xmlns:c16="http://schemas.microsoft.com/office/drawing/2014/chart" uri="{C3380CC4-5D6E-409C-BE32-E72D297353CC}">
                <c16:uniqueId val="{00000079-83E0-4716-877A-8084D4846F88}"/>
              </c:ext>
            </c:extLst>
          </c:dPt>
          <c:dPt>
            <c:idx val="61"/>
            <c:invertIfNegative val="1"/>
            <c:bubble3D val="0"/>
            <c:spPr>
              <a:solidFill>
                <a:srgbClr val="AEABAB"/>
              </a:solidFill>
            </c:spPr>
            <c:extLst>
              <c:ext xmlns:c16="http://schemas.microsoft.com/office/drawing/2014/chart" uri="{C3380CC4-5D6E-409C-BE32-E72D297353CC}">
                <c16:uniqueId val="{0000007B-83E0-4716-877A-8084D4846F88}"/>
              </c:ext>
            </c:extLst>
          </c:dPt>
          <c:dPt>
            <c:idx val="62"/>
            <c:invertIfNegative val="1"/>
            <c:bubble3D val="0"/>
            <c:spPr>
              <a:solidFill>
                <a:srgbClr val="AEABAB"/>
              </a:solidFill>
            </c:spPr>
            <c:extLst>
              <c:ext xmlns:c16="http://schemas.microsoft.com/office/drawing/2014/chart" uri="{C3380CC4-5D6E-409C-BE32-E72D297353CC}">
                <c16:uniqueId val="{0000007D-83E0-4716-877A-8084D4846F88}"/>
              </c:ext>
            </c:extLst>
          </c:dPt>
          <c:dPt>
            <c:idx val="63"/>
            <c:invertIfNegative val="1"/>
            <c:bubble3D val="0"/>
            <c:spPr>
              <a:solidFill>
                <a:srgbClr val="AEABAB"/>
              </a:solidFill>
            </c:spPr>
            <c:extLst>
              <c:ext xmlns:c16="http://schemas.microsoft.com/office/drawing/2014/chart" uri="{C3380CC4-5D6E-409C-BE32-E72D297353CC}">
                <c16:uniqueId val="{0000007F-83E0-4716-877A-8084D4846F88}"/>
              </c:ext>
            </c:extLst>
          </c:dPt>
          <c:dPt>
            <c:idx val="64"/>
            <c:invertIfNegative val="1"/>
            <c:bubble3D val="0"/>
            <c:spPr>
              <a:solidFill>
                <a:srgbClr val="AEABAB"/>
              </a:solidFill>
            </c:spPr>
            <c:extLst>
              <c:ext xmlns:c16="http://schemas.microsoft.com/office/drawing/2014/chart" uri="{C3380CC4-5D6E-409C-BE32-E72D297353CC}">
                <c16:uniqueId val="{00000081-83E0-4716-877A-8084D4846F88}"/>
              </c:ext>
            </c:extLst>
          </c:dPt>
          <c:dPt>
            <c:idx val="65"/>
            <c:invertIfNegative val="1"/>
            <c:bubble3D val="0"/>
            <c:spPr>
              <a:solidFill>
                <a:srgbClr val="AEABAB"/>
              </a:solidFill>
            </c:spPr>
            <c:extLst>
              <c:ext xmlns:c16="http://schemas.microsoft.com/office/drawing/2014/chart" uri="{C3380CC4-5D6E-409C-BE32-E72D297353CC}">
                <c16:uniqueId val="{00000083-83E0-4716-877A-8084D4846F88}"/>
              </c:ext>
            </c:extLst>
          </c:dPt>
          <c:dPt>
            <c:idx val="66"/>
            <c:invertIfNegative val="1"/>
            <c:bubble3D val="0"/>
            <c:spPr>
              <a:solidFill>
                <a:srgbClr val="AEABAB"/>
              </a:solidFill>
            </c:spPr>
            <c:extLst>
              <c:ext xmlns:c16="http://schemas.microsoft.com/office/drawing/2014/chart" uri="{C3380CC4-5D6E-409C-BE32-E72D297353CC}">
                <c16:uniqueId val="{00000085-83E0-4716-877A-8084D4846F88}"/>
              </c:ext>
            </c:extLst>
          </c:dPt>
          <c:dPt>
            <c:idx val="67"/>
            <c:invertIfNegative val="1"/>
            <c:bubble3D val="0"/>
            <c:spPr>
              <a:solidFill>
                <a:srgbClr val="AEABAB"/>
              </a:solidFill>
            </c:spPr>
            <c:extLst>
              <c:ext xmlns:c16="http://schemas.microsoft.com/office/drawing/2014/chart" uri="{C3380CC4-5D6E-409C-BE32-E72D297353CC}">
                <c16:uniqueId val="{00000087-83E0-4716-877A-8084D4846F88}"/>
              </c:ext>
            </c:extLst>
          </c:dPt>
          <c:dPt>
            <c:idx val="68"/>
            <c:invertIfNegative val="1"/>
            <c:bubble3D val="0"/>
            <c:spPr>
              <a:solidFill>
                <a:srgbClr val="AEABAB"/>
              </a:solidFill>
            </c:spPr>
            <c:extLst>
              <c:ext xmlns:c16="http://schemas.microsoft.com/office/drawing/2014/chart" uri="{C3380CC4-5D6E-409C-BE32-E72D297353CC}">
                <c16:uniqueId val="{00000089-83E0-4716-877A-8084D4846F88}"/>
              </c:ext>
            </c:extLst>
          </c:dPt>
          <c:dPt>
            <c:idx val="69"/>
            <c:invertIfNegative val="1"/>
            <c:bubble3D val="0"/>
            <c:spPr>
              <a:solidFill>
                <a:srgbClr val="AEABAB"/>
              </a:solidFill>
            </c:spPr>
            <c:extLst>
              <c:ext xmlns:c16="http://schemas.microsoft.com/office/drawing/2014/chart" uri="{C3380CC4-5D6E-409C-BE32-E72D297353CC}">
                <c16:uniqueId val="{0000008B-83E0-4716-877A-8084D4846F88}"/>
              </c:ext>
            </c:extLst>
          </c:dPt>
          <c:dPt>
            <c:idx val="70"/>
            <c:invertIfNegative val="1"/>
            <c:bubble3D val="0"/>
            <c:spPr>
              <a:solidFill>
                <a:srgbClr val="AEABAB"/>
              </a:solidFill>
            </c:spPr>
            <c:extLst>
              <c:ext xmlns:c16="http://schemas.microsoft.com/office/drawing/2014/chart" uri="{C3380CC4-5D6E-409C-BE32-E72D297353CC}">
                <c16:uniqueId val="{0000008D-83E0-4716-877A-8084D4846F88}"/>
              </c:ext>
            </c:extLst>
          </c:dPt>
          <c:dPt>
            <c:idx val="71"/>
            <c:invertIfNegative val="1"/>
            <c:bubble3D val="0"/>
            <c:spPr>
              <a:solidFill>
                <a:srgbClr val="AEABAB"/>
              </a:solidFill>
            </c:spPr>
            <c:extLst>
              <c:ext xmlns:c16="http://schemas.microsoft.com/office/drawing/2014/chart" uri="{C3380CC4-5D6E-409C-BE32-E72D297353CC}">
                <c16:uniqueId val="{0000008F-83E0-4716-877A-8084D4846F88}"/>
              </c:ext>
            </c:extLst>
          </c:dPt>
          <c:dPt>
            <c:idx val="72"/>
            <c:invertIfNegative val="1"/>
            <c:bubble3D val="0"/>
            <c:spPr>
              <a:solidFill>
                <a:srgbClr val="AEABAB"/>
              </a:solidFill>
            </c:spPr>
            <c:extLst>
              <c:ext xmlns:c16="http://schemas.microsoft.com/office/drawing/2014/chart" uri="{C3380CC4-5D6E-409C-BE32-E72D297353CC}">
                <c16:uniqueId val="{00000091-83E0-4716-877A-8084D4846F88}"/>
              </c:ext>
            </c:extLst>
          </c:dPt>
          <c:dPt>
            <c:idx val="73"/>
            <c:invertIfNegative val="1"/>
            <c:bubble3D val="0"/>
            <c:spPr>
              <a:solidFill>
                <a:srgbClr val="AEABAB"/>
              </a:solidFill>
            </c:spPr>
            <c:extLst>
              <c:ext xmlns:c16="http://schemas.microsoft.com/office/drawing/2014/chart" uri="{C3380CC4-5D6E-409C-BE32-E72D297353CC}">
                <c16:uniqueId val="{00000093-83E0-4716-877A-8084D4846F88}"/>
              </c:ext>
            </c:extLst>
          </c:dPt>
          <c:dPt>
            <c:idx val="74"/>
            <c:invertIfNegative val="1"/>
            <c:bubble3D val="0"/>
            <c:spPr>
              <a:solidFill>
                <a:srgbClr val="AEABAB"/>
              </a:solidFill>
            </c:spPr>
            <c:extLst>
              <c:ext xmlns:c16="http://schemas.microsoft.com/office/drawing/2014/chart" uri="{C3380CC4-5D6E-409C-BE32-E72D297353CC}">
                <c16:uniqueId val="{00000095-83E0-4716-877A-8084D4846F88}"/>
              </c:ext>
            </c:extLst>
          </c:dPt>
          <c:dPt>
            <c:idx val="75"/>
            <c:invertIfNegative val="1"/>
            <c:bubble3D val="0"/>
            <c:spPr>
              <a:solidFill>
                <a:srgbClr val="AEABAB"/>
              </a:solidFill>
            </c:spPr>
            <c:extLst>
              <c:ext xmlns:c16="http://schemas.microsoft.com/office/drawing/2014/chart" uri="{C3380CC4-5D6E-409C-BE32-E72D297353CC}">
                <c16:uniqueId val="{00000097-83E0-4716-877A-8084D4846F88}"/>
              </c:ext>
            </c:extLst>
          </c:dPt>
          <c:dPt>
            <c:idx val="76"/>
            <c:invertIfNegative val="1"/>
            <c:bubble3D val="0"/>
            <c:spPr>
              <a:solidFill>
                <a:srgbClr val="AEABAB"/>
              </a:solidFill>
            </c:spPr>
            <c:extLst>
              <c:ext xmlns:c16="http://schemas.microsoft.com/office/drawing/2014/chart" uri="{C3380CC4-5D6E-409C-BE32-E72D297353CC}">
                <c16:uniqueId val="{00000099-83E0-4716-877A-8084D4846F88}"/>
              </c:ext>
            </c:extLst>
          </c:dPt>
          <c:dPt>
            <c:idx val="77"/>
            <c:invertIfNegative val="1"/>
            <c:bubble3D val="0"/>
            <c:spPr>
              <a:solidFill>
                <a:srgbClr val="AEABAB"/>
              </a:solidFill>
            </c:spPr>
            <c:extLst>
              <c:ext xmlns:c16="http://schemas.microsoft.com/office/drawing/2014/chart" uri="{C3380CC4-5D6E-409C-BE32-E72D297353CC}">
                <c16:uniqueId val="{0000009B-83E0-4716-877A-8084D4846F88}"/>
              </c:ext>
            </c:extLst>
          </c:dPt>
          <c:dPt>
            <c:idx val="78"/>
            <c:invertIfNegative val="1"/>
            <c:bubble3D val="0"/>
            <c:spPr>
              <a:solidFill>
                <a:srgbClr val="AEABAB"/>
              </a:solidFill>
            </c:spPr>
            <c:extLst>
              <c:ext xmlns:c16="http://schemas.microsoft.com/office/drawing/2014/chart" uri="{C3380CC4-5D6E-409C-BE32-E72D297353CC}">
                <c16:uniqueId val="{0000009D-83E0-4716-877A-8084D4846F88}"/>
              </c:ext>
            </c:extLst>
          </c:dPt>
          <c:dPt>
            <c:idx val="79"/>
            <c:invertIfNegative val="1"/>
            <c:bubble3D val="0"/>
            <c:spPr>
              <a:solidFill>
                <a:srgbClr val="AEABAB"/>
              </a:solidFill>
            </c:spPr>
            <c:extLst>
              <c:ext xmlns:c16="http://schemas.microsoft.com/office/drawing/2014/chart" uri="{C3380CC4-5D6E-409C-BE32-E72D297353CC}">
                <c16:uniqueId val="{0000009F-83E0-4716-877A-8084D4846F88}"/>
              </c:ext>
            </c:extLst>
          </c:dPt>
          <c:dPt>
            <c:idx val="80"/>
            <c:invertIfNegative val="1"/>
            <c:bubble3D val="0"/>
            <c:spPr>
              <a:solidFill>
                <a:srgbClr val="AEABAB"/>
              </a:solidFill>
            </c:spPr>
            <c:extLst>
              <c:ext xmlns:c16="http://schemas.microsoft.com/office/drawing/2014/chart" uri="{C3380CC4-5D6E-409C-BE32-E72D297353CC}">
                <c16:uniqueId val="{000000A1-83E0-4716-877A-8084D4846F88}"/>
              </c:ext>
            </c:extLst>
          </c:dPt>
          <c:dPt>
            <c:idx val="81"/>
            <c:invertIfNegative val="1"/>
            <c:bubble3D val="0"/>
            <c:spPr>
              <a:solidFill>
                <a:srgbClr val="AEABAB"/>
              </a:solidFill>
            </c:spPr>
            <c:extLst>
              <c:ext xmlns:c16="http://schemas.microsoft.com/office/drawing/2014/chart" uri="{C3380CC4-5D6E-409C-BE32-E72D297353CC}">
                <c16:uniqueId val="{000000A3-83E0-4716-877A-8084D4846F88}"/>
              </c:ext>
            </c:extLst>
          </c:dPt>
          <c:dPt>
            <c:idx val="82"/>
            <c:invertIfNegative val="1"/>
            <c:bubble3D val="0"/>
            <c:spPr>
              <a:solidFill>
                <a:srgbClr val="AEABAB"/>
              </a:solidFill>
            </c:spPr>
            <c:extLst>
              <c:ext xmlns:c16="http://schemas.microsoft.com/office/drawing/2014/chart" uri="{C3380CC4-5D6E-409C-BE32-E72D297353CC}">
                <c16:uniqueId val="{000000A5-83E0-4716-877A-8084D4846F88}"/>
              </c:ext>
            </c:extLst>
          </c:dPt>
          <c:dPt>
            <c:idx val="83"/>
            <c:invertIfNegative val="1"/>
            <c:bubble3D val="0"/>
            <c:spPr>
              <a:solidFill>
                <a:srgbClr val="AEABAB"/>
              </a:solidFill>
            </c:spPr>
            <c:extLst>
              <c:ext xmlns:c16="http://schemas.microsoft.com/office/drawing/2014/chart" uri="{C3380CC4-5D6E-409C-BE32-E72D297353CC}">
                <c16:uniqueId val="{000000A7-83E0-4716-877A-8084D4846F88}"/>
              </c:ext>
            </c:extLst>
          </c:dPt>
          <c:dPt>
            <c:idx val="84"/>
            <c:invertIfNegative val="1"/>
            <c:bubble3D val="0"/>
            <c:spPr>
              <a:solidFill>
                <a:srgbClr val="AEABAB"/>
              </a:solidFill>
            </c:spPr>
            <c:extLst>
              <c:ext xmlns:c16="http://schemas.microsoft.com/office/drawing/2014/chart" uri="{C3380CC4-5D6E-409C-BE32-E72D297353CC}">
                <c16:uniqueId val="{000000A9-83E0-4716-877A-8084D4846F88}"/>
              </c:ext>
            </c:extLst>
          </c:dPt>
          <c:dPt>
            <c:idx val="85"/>
            <c:invertIfNegative val="1"/>
            <c:bubble3D val="0"/>
            <c:spPr>
              <a:solidFill>
                <a:srgbClr val="AEABAB"/>
              </a:solidFill>
            </c:spPr>
            <c:extLst>
              <c:ext xmlns:c16="http://schemas.microsoft.com/office/drawing/2014/chart" uri="{C3380CC4-5D6E-409C-BE32-E72D297353CC}">
                <c16:uniqueId val="{000000AB-83E0-4716-877A-8084D4846F88}"/>
              </c:ext>
            </c:extLst>
          </c:dPt>
          <c:dPt>
            <c:idx val="86"/>
            <c:invertIfNegative val="1"/>
            <c:bubble3D val="0"/>
            <c:spPr>
              <a:solidFill>
                <a:srgbClr val="AEABAB"/>
              </a:solidFill>
            </c:spPr>
            <c:extLst>
              <c:ext xmlns:c16="http://schemas.microsoft.com/office/drawing/2014/chart" uri="{C3380CC4-5D6E-409C-BE32-E72D297353CC}">
                <c16:uniqueId val="{000000AD-83E0-4716-877A-8084D4846F88}"/>
              </c:ext>
            </c:extLst>
          </c:dPt>
          <c:dPt>
            <c:idx val="87"/>
            <c:invertIfNegative val="1"/>
            <c:bubble3D val="0"/>
            <c:spPr>
              <a:solidFill>
                <a:srgbClr val="AEABAB"/>
              </a:solidFill>
            </c:spPr>
            <c:extLst>
              <c:ext xmlns:c16="http://schemas.microsoft.com/office/drawing/2014/chart" uri="{C3380CC4-5D6E-409C-BE32-E72D297353CC}">
                <c16:uniqueId val="{000000AF-83E0-4716-877A-8084D4846F88}"/>
              </c:ext>
            </c:extLst>
          </c:dPt>
          <c:dPt>
            <c:idx val="88"/>
            <c:invertIfNegative val="1"/>
            <c:bubble3D val="0"/>
            <c:spPr>
              <a:solidFill>
                <a:srgbClr val="AEABAB"/>
              </a:solidFill>
            </c:spPr>
            <c:extLst>
              <c:ext xmlns:c16="http://schemas.microsoft.com/office/drawing/2014/chart" uri="{C3380CC4-5D6E-409C-BE32-E72D297353CC}">
                <c16:uniqueId val="{000000B1-83E0-4716-877A-8084D4846F88}"/>
              </c:ext>
            </c:extLst>
          </c:dPt>
          <c:dPt>
            <c:idx val="89"/>
            <c:invertIfNegative val="1"/>
            <c:bubble3D val="0"/>
            <c:spPr>
              <a:solidFill>
                <a:srgbClr val="AEABAB"/>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r>
                      <a:rPr lang="en-GB" sz="500">
                        <a:solidFill>
                          <a:srgbClr val="006C6D"/>
                        </a:solidFill>
                      </a:rPr>
                      <a:t>Schick Xtreme 5 Disposable Razors 9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Mach 3 Advanced Refills 20 Pack</c:v>
                </c:pt>
                <c:pt idx="2">
                  <c:v>Gillette Custom Plus 3 Sensitive Disposable Razors 30 Pack</c:v>
                </c:pt>
                <c:pt idx="3">
                  <c:v>Schick Xtreme 5 Disposable Razors 9 Pack</c:v>
                </c:pt>
                <c:pt idx="4">
                  <c:v>None Razors</c:v>
                </c:pt>
                <c:pt idx="5">
                  <c:v>Harry's Razor Set Chrome Edition 1 Handle + 13 Cartridges</c:v>
                </c:pt>
              </c:strCache>
            </c:strRef>
          </c:cat>
          <c:val>
            <c:numRef>
              <c:f>Sheet1!$B$2:$B$7</c:f>
              <c:numCache>
                <c:formatCode>General</c:formatCode>
                <c:ptCount val="6"/>
                <c:pt idx="0">
                  <c:v>0.61504476116890561</c:v>
                </c:pt>
                <c:pt idx="1">
                  <c:v>0.38495523883109445</c:v>
                </c:pt>
                <c:pt idx="2">
                  <c:v>0.35233651414462863</c:v>
                </c:pt>
                <c:pt idx="3">
                  <c:v>0.28586268226720712</c:v>
                </c:pt>
                <c:pt idx="4">
                  <c:v>0.22954082685346314</c:v>
                </c:pt>
                <c:pt idx="5">
                  <c:v>0.13225997673470102</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Schick Dispo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 Xtreme 3 Sensitive Disposable Razors 20 Pack @20.99</c:v>
                </c:pt>
                <c:pt idx="1">
                  <c:v>Schick Xtreme 3 Sensitive Disposable Razors 30 Pack @29.99</c:v>
                </c:pt>
                <c:pt idx="2">
                  <c:v>Schick Xtreme 2 Sensitive Disposable Razors 48 Pack @23.99</c:v>
                </c:pt>
                <c:pt idx="3">
                  <c:v>Schick Xtreme 2 Sensitive Disposable Razors 60 Pack @29.99</c:v>
                </c:pt>
                <c:pt idx="4">
                  <c:v>Schick Xtreme 5 Disposable Razors 9 Pack @19.99</c:v>
                </c:pt>
              </c:strCache>
            </c:strRef>
          </c:cat>
          <c:val>
            <c:numRef>
              <c:f>Sheet1!$B$2:$B$6</c:f>
              <c:numCache>
                <c:formatCode>General</c:formatCode>
                <c:ptCount val="5"/>
                <c:pt idx="0">
                  <c:v>100</c:v>
                </c:pt>
                <c:pt idx="1">
                  <c:v>100</c:v>
                </c:pt>
                <c:pt idx="2">
                  <c:v>100</c:v>
                </c:pt>
                <c:pt idx="3">
                  <c:v>100</c:v>
                </c:pt>
                <c:pt idx="4">
                  <c:v>100</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Schick Dispo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 Xtreme 3 Sensitive Disposable Razors 20 Pack @20.99</c:v>
                </c:pt>
                <c:pt idx="1">
                  <c:v>Schick Xtreme 3 Sensitive Disposable Razors 30 Pack @29.99</c:v>
                </c:pt>
                <c:pt idx="2">
                  <c:v>Schick Xtreme 2 Sensitive Disposable Razors 48 Pack @23.99</c:v>
                </c:pt>
                <c:pt idx="3">
                  <c:v>Schick Xtreme 2 Sensitive Disposable Razors 60 Pack @29.99</c:v>
                </c:pt>
                <c:pt idx="4">
                  <c:v>Schick Xtreme 5 Disposable Razors 9 Pack @19.99</c:v>
                </c:pt>
              </c:strCache>
            </c:strRef>
          </c:cat>
          <c:val>
            <c:numRef>
              <c:f>Sheet1!$C$2:$C$6</c:f>
              <c:numCache>
                <c:formatCode>General</c:formatCode>
                <c:ptCount val="5"/>
                <c:pt idx="0">
                  <c:v>100</c:v>
                </c:pt>
                <c:pt idx="1">
                  <c:v>100</c:v>
                </c:pt>
                <c:pt idx="2">
                  <c:v>100</c:v>
                </c:pt>
                <c:pt idx="3">
                  <c:v>100</c:v>
                </c:pt>
                <c:pt idx="4">
                  <c:v>100</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Schick Dispo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 Xtreme 3 Sensitive Disposable Razors 20 Pack @20.99</c:v>
                </c:pt>
                <c:pt idx="1">
                  <c:v>Schick Xtreme 3 Sensitive Disposable Razors 30 Pack @29.99</c:v>
                </c:pt>
                <c:pt idx="2">
                  <c:v>Schick Xtreme 2 Sensitive Disposable Razors 48 Pack @23.99</c:v>
                </c:pt>
                <c:pt idx="3">
                  <c:v>Schick Xtreme 2 Sensitive Disposable Razors 60 Pack @29.99</c:v>
                </c:pt>
                <c:pt idx="4">
                  <c:v>Schick Xtreme 5 Disposable Razors 9 Pack @19.99</c:v>
                </c:pt>
              </c:strCache>
            </c:strRef>
          </c:cat>
          <c:val>
            <c:numRef>
              <c:f>Sheet1!$D$2:$D$6</c:f>
              <c:numCache>
                <c:formatCode>General</c:formatCode>
                <c:ptCount val="5"/>
                <c:pt idx="0">
                  <c:v>100</c:v>
                </c:pt>
                <c:pt idx="1">
                  <c:v>100</c:v>
                </c:pt>
                <c:pt idx="2">
                  <c:v>100</c:v>
                </c:pt>
                <c:pt idx="3">
                  <c:v>100</c:v>
                </c:pt>
                <c:pt idx="4">
                  <c:v>100</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Kirkland Disposable Razors 30 pack </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006C6D"/>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r>
                      <a:rPr lang="fr-FR" sz="500">
                        <a:solidFill>
                          <a:srgbClr val="006C6D"/>
                        </a:solidFill>
                      </a:rPr>
                      <a:t>Kirkland Disposable Razors 30 pack </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Mach 3 Advanced Refills 20 Pack</c:v>
                </c:pt>
                <c:pt idx="2">
                  <c:v>Gillette Custom Plus 3 Sensitive Disposable Razors 30 Pack</c:v>
                </c:pt>
                <c:pt idx="3">
                  <c:v>Kirkland Disposable Razors 30 pack </c:v>
                </c:pt>
                <c:pt idx="4">
                  <c:v>None Razors</c:v>
                </c:pt>
                <c:pt idx="5">
                  <c:v>Harry's Razor Set Chrome Edition 1 Handle + 13 Cartridges</c:v>
                </c:pt>
              </c:strCache>
            </c:strRef>
          </c:cat>
          <c:val>
            <c:numRef>
              <c:f>Sheet1!$B$2:$B$7</c:f>
              <c:numCache>
                <c:formatCode>General</c:formatCode>
                <c:ptCount val="6"/>
                <c:pt idx="0">
                  <c:v>0.61671184780490129</c:v>
                </c:pt>
                <c:pt idx="1">
                  <c:v>0.38328815219509882</c:v>
                </c:pt>
                <c:pt idx="2">
                  <c:v>0.33909382409135191</c:v>
                </c:pt>
                <c:pt idx="3">
                  <c:v>0.27541694407036321</c:v>
                </c:pt>
                <c:pt idx="4">
                  <c:v>0.24906759443542584</c:v>
                </c:pt>
                <c:pt idx="5">
                  <c:v>0.13642163740285926</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0.99725383032353521"/>
        </c:manualLayout>
      </c:layout>
      <c:barChart>
        <c:barDir val="bar"/>
        <c:grouping val="clustered"/>
        <c:varyColors val="0"/>
        <c:ser>
          <c:idx val="2"/>
          <c:order val="0"/>
          <c:tx>
            <c:strRef>
              <c:f>Sheet1!$B$1</c:f>
              <c:strCache>
                <c:ptCount val="1"/>
                <c:pt idx="0">
                  <c:v>Schick Xtreme 3 Sensitive Disposable Razors 20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None Razors</c:v>
                </c:pt>
                <c:pt idx="2">
                  <c:v>Harry's Razor Set Chrome Edition 1 Handle + 13 Cartridges</c:v>
                </c:pt>
                <c:pt idx="3">
                  <c:v>Gillette Proglide Plus Refills 16 Pack</c:v>
                </c:pt>
                <c:pt idx="4">
                  <c:v>Schick Hydro 3 Ultra Sensitive 1 Handle + 20 Cartridges</c:v>
                </c:pt>
                <c:pt idx="5">
                  <c:v>Kirkland Disposable Razors 20 pack </c:v>
                </c:pt>
                <c:pt idx="6">
                  <c:v>Kirkland Disposable Razors 30 pack </c:v>
                </c:pt>
                <c:pt idx="7">
                  <c:v>Schick Hydro 5 Sensitive 1 Handle + 16 Cartridges</c:v>
                </c:pt>
                <c:pt idx="8">
                  <c:v>Schick Quattro Titanium 4 Blade Systems 1 Handle + 13 Cartridges</c:v>
                </c:pt>
                <c:pt idx="9">
                  <c:v>Schick Hydro 5 Sensitive 1 Handle + 20 Cartridges</c:v>
                </c:pt>
                <c:pt idx="10">
                  <c:v>Kirkland 5 blades 1 Handle + 13 Cartridges</c:v>
                </c:pt>
              </c:strCache>
            </c:strRef>
          </c:cat>
          <c:val>
            <c:numRef>
              <c:f>Sheet1!$B$2:$B$12</c:f>
              <c:numCache>
                <c:formatCode>General</c:formatCode>
                <c:ptCount val="11"/>
                <c:pt idx="0">
                  <c:v>0.58165188135106372</c:v>
                </c:pt>
                <c:pt idx="1">
                  <c:v>0.26630456147401965</c:v>
                </c:pt>
                <c:pt idx="2">
                  <c:v>0.15204355717491527</c:v>
                </c:pt>
                <c:pt idx="3">
                  <c:v>9.1564830364983356E-3</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Schick Xtreme 3 Sensitive Disposable Razors 30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None Razors</c:v>
                </c:pt>
                <c:pt idx="2">
                  <c:v>Harry's Razor Set Chrome Edition 1 Handle + 13 Cartridges</c:v>
                </c:pt>
                <c:pt idx="3">
                  <c:v>Gillette Proglide Plus Refills 16 Pack</c:v>
                </c:pt>
                <c:pt idx="4">
                  <c:v>Schick Hydro 3 Ultra Sensitive 1 Handle + 20 Cartridges</c:v>
                </c:pt>
                <c:pt idx="5">
                  <c:v>Kirkland Disposable Razors 20 pack </c:v>
                </c:pt>
                <c:pt idx="6">
                  <c:v>Kirkland Disposable Razors 30 pack </c:v>
                </c:pt>
                <c:pt idx="7">
                  <c:v>Schick Hydro 5 Sensitive 1 Handle + 16 Cartridges</c:v>
                </c:pt>
                <c:pt idx="8">
                  <c:v>Schick Quattro Titanium 4 Blade Systems 1 Handle + 13 Cartridges</c:v>
                </c:pt>
                <c:pt idx="9">
                  <c:v>Schick Hydro 5 Sensitive 1 Handle + 20 Cartridges</c:v>
                </c:pt>
                <c:pt idx="10">
                  <c:v>Kirkland 5 blades 1 Handle + 13 Cartridges</c:v>
                </c:pt>
              </c:strCache>
            </c:strRef>
          </c:cat>
          <c:val>
            <c:numRef>
              <c:f>Sheet1!$B$2:$B$12</c:f>
              <c:numCache>
                <c:formatCode>General</c:formatCode>
                <c:ptCount val="11"/>
                <c:pt idx="0">
                  <c:v>0.68630049854911157</c:v>
                </c:pt>
                <c:pt idx="1">
                  <c:v>0.18595013891367332</c:v>
                </c:pt>
                <c:pt idx="2">
                  <c:v>0.12774936253721367</c:v>
                </c:pt>
                <c:pt idx="3">
                  <c:v>5.9579132320984069E-3</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Xtreme 2 Sensitive Disposable Razors 48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None Razors</c:v>
                </c:pt>
                <c:pt idx="2">
                  <c:v>Harry's Razor Set Chrome Edition 1 Handle + 13 Cartridges</c:v>
                </c:pt>
                <c:pt idx="3">
                  <c:v>Gillette Proglide Plus Refills 16 Pack</c:v>
                </c:pt>
                <c:pt idx="4">
                  <c:v>Schick Hydro 3 Ultra Sensitive 1 Handle + 20 Cartridges</c:v>
                </c:pt>
                <c:pt idx="5">
                  <c:v>Kirkland Disposable Razors 20 pack </c:v>
                </c:pt>
                <c:pt idx="6">
                  <c:v>Kirkland Disposable Razors 30 pack </c:v>
                </c:pt>
                <c:pt idx="7">
                  <c:v>Schick Hydro 5 Sensitive 1 Handle + 16 Cartridges</c:v>
                </c:pt>
                <c:pt idx="8">
                  <c:v>Schick Quattro Titanium 4 Blade Systems 1 Handle + 13 Cartridges</c:v>
                </c:pt>
                <c:pt idx="9">
                  <c:v>Schick Hydro 5 Sensitive 1 Handle + 20 Cartridges</c:v>
                </c:pt>
                <c:pt idx="10">
                  <c:v>Kirkland 5 blades 1 Handle + 13 Cartridges</c:v>
                </c:pt>
              </c:strCache>
            </c:strRef>
          </c:cat>
          <c:val>
            <c:numRef>
              <c:f>Sheet1!$B$2:$B$12</c:f>
              <c:numCache>
                <c:formatCode>General</c:formatCode>
                <c:ptCount val="11"/>
                <c:pt idx="0">
                  <c:v>0.62521754094637383</c:v>
                </c:pt>
                <c:pt idx="1">
                  <c:v>0.2101905238281481</c:v>
                </c:pt>
                <c:pt idx="2">
                  <c:v>0.16459193522547796</c:v>
                </c:pt>
                <c:pt idx="3">
                  <c:v>5.0354414198318835E-3</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Xtreme 2 Sensitive Disposable Razors 60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None Razors</c:v>
                </c:pt>
                <c:pt idx="2">
                  <c:v>Harry's Razor Set Chrome Edition 1 Handle + 13 Cartridges</c:v>
                </c:pt>
                <c:pt idx="3">
                  <c:v>Gillette Proglide Plus Refills 16 Pack</c:v>
                </c:pt>
                <c:pt idx="4">
                  <c:v>Schick Hydro 3 Ultra Sensitive 1 Handle + 20 Cartridges</c:v>
                </c:pt>
                <c:pt idx="5">
                  <c:v>Kirkland Disposable Razors 20 pack </c:v>
                </c:pt>
                <c:pt idx="6">
                  <c:v>Kirkland Disposable Razors 30 pack </c:v>
                </c:pt>
                <c:pt idx="7">
                  <c:v>Schick Hydro 5 Sensitive 1 Handle + 16 Cartridges</c:v>
                </c:pt>
                <c:pt idx="8">
                  <c:v>Schick Quattro Titanium 4 Blade Systems 1 Handle + 13 Cartridges</c:v>
                </c:pt>
                <c:pt idx="9">
                  <c:v>Schick Hydro 5 Sensitive 1 Handle + 20 Cartridges</c:v>
                </c:pt>
                <c:pt idx="10">
                  <c:v>Kirkland 5 blades 1 Handle + 13 Cartridges</c:v>
                </c:pt>
              </c:strCache>
            </c:strRef>
          </c:cat>
          <c:val>
            <c:numRef>
              <c:f>Sheet1!$B$2:$B$12</c:f>
              <c:numCache>
                <c:formatCode>General</c:formatCode>
                <c:ptCount val="11"/>
                <c:pt idx="0">
                  <c:v>0.68658808177363984</c:v>
                </c:pt>
                <c:pt idx="1">
                  <c:v>0.16744429994072244</c:v>
                </c:pt>
                <c:pt idx="2">
                  <c:v>0.14596761828563792</c:v>
                </c:pt>
                <c:pt idx="3">
                  <c:v>5.89853560211436E-3</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Schick Xtreme 5 Disposable Razors 9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000A-4C45-A43A-3AA69B6FEE6F}"/>
              </c:ext>
            </c:extLst>
          </c:dPt>
          <c:dPt>
            <c:idx val="1"/>
            <c:invertIfNegative val="1"/>
            <c:bubble3D val="0"/>
            <c:spPr>
              <a:solidFill>
                <a:srgbClr val="AEABAB"/>
              </a:solidFill>
            </c:spPr>
            <c:extLst>
              <c:ext xmlns:c16="http://schemas.microsoft.com/office/drawing/2014/chart" uri="{C3380CC4-5D6E-409C-BE32-E72D297353CC}">
                <c16:uniqueId val="{00000003-000A-4C45-A43A-3AA69B6FEE6F}"/>
              </c:ext>
            </c:extLst>
          </c:dPt>
          <c:dPt>
            <c:idx val="2"/>
            <c:invertIfNegative val="1"/>
            <c:bubble3D val="0"/>
            <c:spPr>
              <a:solidFill>
                <a:srgbClr val="AEABAB"/>
              </a:solidFill>
            </c:spPr>
            <c:extLst>
              <c:ext xmlns:c16="http://schemas.microsoft.com/office/drawing/2014/chart" uri="{C3380CC4-5D6E-409C-BE32-E72D297353CC}">
                <c16:uniqueId val="{00000005-000A-4C45-A43A-3AA69B6FEE6F}"/>
              </c:ext>
            </c:extLst>
          </c:dPt>
          <c:dPt>
            <c:idx val="3"/>
            <c:invertIfNegative val="1"/>
            <c:bubble3D val="0"/>
            <c:spPr>
              <a:solidFill>
                <a:srgbClr val="AEABAB"/>
              </a:solidFill>
            </c:spPr>
            <c:extLst>
              <c:ext xmlns:c16="http://schemas.microsoft.com/office/drawing/2014/chart" uri="{C3380CC4-5D6E-409C-BE32-E72D297353CC}">
                <c16:uniqueId val="{00000007-000A-4C45-A43A-3AA69B6FEE6F}"/>
              </c:ext>
            </c:extLst>
          </c:dPt>
          <c:dPt>
            <c:idx val="4"/>
            <c:invertIfNegative val="1"/>
            <c:bubble3D val="0"/>
            <c:spPr>
              <a:solidFill>
                <a:srgbClr val="AEABAB"/>
              </a:solidFill>
            </c:spPr>
            <c:extLst>
              <c:ext xmlns:c16="http://schemas.microsoft.com/office/drawing/2014/chart" uri="{C3380CC4-5D6E-409C-BE32-E72D297353CC}">
                <c16:uniqueId val="{00000009-000A-4C45-A43A-3AA69B6FEE6F}"/>
              </c:ext>
            </c:extLst>
          </c:dPt>
          <c:dPt>
            <c:idx val="5"/>
            <c:invertIfNegative val="1"/>
            <c:bubble3D val="0"/>
            <c:spPr>
              <a:solidFill>
                <a:srgbClr val="AEABAB"/>
              </a:solidFill>
            </c:spPr>
            <c:extLst>
              <c:ext xmlns:c16="http://schemas.microsoft.com/office/drawing/2014/chart" uri="{C3380CC4-5D6E-409C-BE32-E72D297353CC}">
                <c16:uniqueId val="{0000000B-000A-4C45-A43A-3AA69B6FEE6F}"/>
              </c:ext>
            </c:extLst>
          </c:dPt>
          <c:dPt>
            <c:idx val="6"/>
            <c:invertIfNegative val="1"/>
            <c:bubble3D val="0"/>
            <c:spPr>
              <a:solidFill>
                <a:srgbClr val="AEABAB"/>
              </a:solidFill>
            </c:spPr>
            <c:extLst>
              <c:ext xmlns:c16="http://schemas.microsoft.com/office/drawing/2014/chart" uri="{C3380CC4-5D6E-409C-BE32-E72D297353CC}">
                <c16:uniqueId val="{0000000D-000A-4C45-A43A-3AA69B6FEE6F}"/>
              </c:ext>
            </c:extLst>
          </c:dPt>
          <c:dPt>
            <c:idx val="7"/>
            <c:invertIfNegative val="1"/>
            <c:bubble3D val="0"/>
            <c:spPr>
              <a:solidFill>
                <a:srgbClr val="AEABAB"/>
              </a:solidFill>
            </c:spPr>
            <c:extLst>
              <c:ext xmlns:c16="http://schemas.microsoft.com/office/drawing/2014/chart" uri="{C3380CC4-5D6E-409C-BE32-E72D297353CC}">
                <c16:uniqueId val="{0000000F-000A-4C45-A43A-3AA69B6FEE6F}"/>
              </c:ext>
            </c:extLst>
          </c:dPt>
          <c:dPt>
            <c:idx val="8"/>
            <c:invertIfNegative val="1"/>
            <c:bubble3D val="0"/>
            <c:spPr>
              <a:solidFill>
                <a:srgbClr val="AEABAB"/>
              </a:solidFill>
            </c:spPr>
            <c:extLst>
              <c:ext xmlns:c16="http://schemas.microsoft.com/office/drawing/2014/chart" uri="{C3380CC4-5D6E-409C-BE32-E72D297353CC}">
                <c16:uniqueId val="{00000011-000A-4C45-A43A-3AA69B6FEE6F}"/>
              </c:ext>
            </c:extLst>
          </c:dPt>
          <c:dPt>
            <c:idx val="9"/>
            <c:invertIfNegative val="1"/>
            <c:bubble3D val="0"/>
            <c:spPr>
              <a:solidFill>
                <a:srgbClr val="AEABAB"/>
              </a:solidFill>
            </c:spPr>
            <c:extLst>
              <c:ext xmlns:c16="http://schemas.microsoft.com/office/drawing/2014/chart" uri="{C3380CC4-5D6E-409C-BE32-E72D297353CC}">
                <c16:uniqueId val="{00000013-000A-4C45-A43A-3AA69B6FEE6F}"/>
              </c:ext>
            </c:extLst>
          </c:dPt>
          <c:dPt>
            <c:idx val="10"/>
            <c:invertIfNegative val="1"/>
            <c:bubble3D val="0"/>
            <c:spPr>
              <a:solidFill>
                <a:srgbClr val="AEABAB"/>
              </a:solidFill>
            </c:spPr>
            <c:extLst>
              <c:ext xmlns:c16="http://schemas.microsoft.com/office/drawing/2014/chart" uri="{C3380CC4-5D6E-409C-BE32-E72D297353CC}">
                <c16:uniqueId val="{00000015-000A-4C45-A43A-3AA69B6FEE6F}"/>
              </c:ext>
            </c:extLst>
          </c:dPt>
          <c:dPt>
            <c:idx val="11"/>
            <c:invertIfNegative val="1"/>
            <c:bubble3D val="0"/>
            <c:spPr>
              <a:solidFill>
                <a:srgbClr val="AEABAB"/>
              </a:solidFill>
            </c:spPr>
            <c:extLst>
              <c:ext xmlns:c16="http://schemas.microsoft.com/office/drawing/2014/chart" uri="{C3380CC4-5D6E-409C-BE32-E72D297353CC}">
                <c16:uniqueId val="{00000017-000A-4C45-A43A-3AA69B6FEE6F}"/>
              </c:ext>
            </c:extLst>
          </c:dPt>
          <c:dPt>
            <c:idx val="12"/>
            <c:invertIfNegative val="1"/>
            <c:bubble3D val="0"/>
            <c:spPr>
              <a:solidFill>
                <a:srgbClr val="AEABAB"/>
              </a:solidFill>
            </c:spPr>
            <c:extLst>
              <c:ext xmlns:c16="http://schemas.microsoft.com/office/drawing/2014/chart" uri="{C3380CC4-5D6E-409C-BE32-E72D297353CC}">
                <c16:uniqueId val="{00000019-000A-4C45-A43A-3AA69B6FEE6F}"/>
              </c:ext>
            </c:extLst>
          </c:dPt>
          <c:dPt>
            <c:idx val="13"/>
            <c:invertIfNegative val="1"/>
            <c:bubble3D val="0"/>
            <c:spPr>
              <a:solidFill>
                <a:srgbClr val="AEABAB"/>
              </a:solidFill>
            </c:spPr>
            <c:extLst>
              <c:ext xmlns:c16="http://schemas.microsoft.com/office/drawing/2014/chart" uri="{C3380CC4-5D6E-409C-BE32-E72D297353CC}">
                <c16:uniqueId val="{0000001B-000A-4C45-A43A-3AA69B6FEE6F}"/>
              </c:ext>
            </c:extLst>
          </c:dPt>
          <c:dPt>
            <c:idx val="14"/>
            <c:invertIfNegative val="1"/>
            <c:bubble3D val="0"/>
            <c:spPr>
              <a:solidFill>
                <a:srgbClr val="AEABAB"/>
              </a:solidFill>
            </c:spPr>
            <c:extLst>
              <c:ext xmlns:c16="http://schemas.microsoft.com/office/drawing/2014/chart" uri="{C3380CC4-5D6E-409C-BE32-E72D297353CC}">
                <c16:uniqueId val="{0000001D-000A-4C45-A43A-3AA69B6FEE6F}"/>
              </c:ext>
            </c:extLst>
          </c:dPt>
          <c:dPt>
            <c:idx val="15"/>
            <c:invertIfNegative val="1"/>
            <c:bubble3D val="0"/>
            <c:spPr>
              <a:solidFill>
                <a:srgbClr val="AEABAB"/>
              </a:solidFill>
            </c:spPr>
            <c:extLst>
              <c:ext xmlns:c16="http://schemas.microsoft.com/office/drawing/2014/chart" uri="{C3380CC4-5D6E-409C-BE32-E72D297353CC}">
                <c16:uniqueId val="{0000001F-000A-4C45-A43A-3AA69B6FEE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None Razors</c:v>
                </c:pt>
                <c:pt idx="2">
                  <c:v>Harry's Razor Set Chrome Edition 1 Handle + 13 Cartridges</c:v>
                </c:pt>
                <c:pt idx="3">
                  <c:v>Gillette Proglide Plus Refills 16 Pack</c:v>
                </c:pt>
                <c:pt idx="4">
                  <c:v>Schick Hydro 3 Ultra Sensitive 1 Handle + 20 Cartridges</c:v>
                </c:pt>
                <c:pt idx="5">
                  <c:v>Kirkland Disposable Razors 20 pack </c:v>
                </c:pt>
                <c:pt idx="6">
                  <c:v>Kirkland Disposable Razors 30 pack </c:v>
                </c:pt>
                <c:pt idx="7">
                  <c:v>Schick Hydro 5 Sensitive 1 Handle + 16 Cartridges</c:v>
                </c:pt>
                <c:pt idx="8">
                  <c:v>Schick Quattro Titanium 4 Blade Systems 1 Handle + 13 Cartridges</c:v>
                </c:pt>
                <c:pt idx="9">
                  <c:v>Schick Hydro 5 Sensitive 1 Handle + 20 Cartridges</c:v>
                </c:pt>
                <c:pt idx="10">
                  <c:v>Kirkland 5 blades 1 Handle + 13 Cartridges</c:v>
                </c:pt>
              </c:strCache>
            </c:strRef>
          </c:cat>
          <c:val>
            <c:numRef>
              <c:f>Sheet1!$B$2:$B$12</c:f>
              <c:numCache>
                <c:formatCode>General</c:formatCode>
                <c:ptCount val="11"/>
                <c:pt idx="0">
                  <c:v>0.5780369791401142</c:v>
                </c:pt>
                <c:pt idx="1">
                  <c:v>0.26203305515690584</c:v>
                </c:pt>
                <c:pt idx="2">
                  <c:v>0.15992996570297965</c:v>
                </c:pt>
                <c:pt idx="3">
                  <c:v>1.0535468904736674E-2</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20-000A-4C45-A43A-3AA69B6FEE6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3 Ultra Sensitive 1 Handle + 20 Cartridges</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006C6D"/>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r>
                      <a:rPr lang="it-IT" sz="500">
                        <a:solidFill>
                          <a:srgbClr val="006C6D"/>
                        </a:solidFill>
                      </a:rPr>
                      <a:t>Schick Hydro 3 Ultra Sensitive 1 Handle + 20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Custom Plus 3 Sensitive Disposable Razors 30 Pack</c:v>
                </c:pt>
                <c:pt idx="2">
                  <c:v>Gillette Mach 3 Advanced Refills 20 Pack</c:v>
                </c:pt>
                <c:pt idx="3">
                  <c:v>None Razors</c:v>
                </c:pt>
                <c:pt idx="4">
                  <c:v>Schick Hydro 3 Ultra Sensitive 1 Handle + 20 Cartridges</c:v>
                </c:pt>
                <c:pt idx="5">
                  <c:v>Harry's Razor Set Chrome Edition 1 Handle + 13 Cartridges</c:v>
                </c:pt>
              </c:strCache>
            </c:strRef>
          </c:cat>
          <c:val>
            <c:numRef>
              <c:f>Sheet1!$B$2:$B$7</c:f>
              <c:numCache>
                <c:formatCode>General</c:formatCode>
                <c:ptCount val="6"/>
                <c:pt idx="0">
                  <c:v>0.61608448727347032</c:v>
                </c:pt>
                <c:pt idx="1">
                  <c:v>0.42226568338928128</c:v>
                </c:pt>
                <c:pt idx="2">
                  <c:v>0.38391551272652968</c:v>
                </c:pt>
                <c:pt idx="3">
                  <c:v>0.23697432096942422</c:v>
                </c:pt>
                <c:pt idx="4">
                  <c:v>0.21270686805794867</c:v>
                </c:pt>
                <c:pt idx="5">
                  <c:v>0.12805312758334583</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5 Sensitive 1 Handle + 16 Cartridges</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006C6D"/>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r>
                      <a:rPr lang="en-GB" sz="500">
                        <a:solidFill>
                          <a:srgbClr val="006C6D"/>
                        </a:solidFill>
                      </a:rPr>
                      <a:t>Schick Hydro 5 Sensitive 1 Handle + 16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Custom Plus 3 Sensitive Disposable Razors 30 Pack</c:v>
                </c:pt>
                <c:pt idx="2">
                  <c:v>Gillette Mach 3 Advanced Refills 20 Pack</c:v>
                </c:pt>
                <c:pt idx="3">
                  <c:v>None Razors</c:v>
                </c:pt>
                <c:pt idx="4">
                  <c:v>Harry's Razor Set Chrome Edition 1 Handle + 13 Cartridges</c:v>
                </c:pt>
                <c:pt idx="5">
                  <c:v>Schick Hydro 5 Sensitive 1 Handle + 16 Cartridges</c:v>
                </c:pt>
              </c:strCache>
            </c:strRef>
          </c:cat>
          <c:val>
            <c:numRef>
              <c:f>Sheet1!$B$2:$B$7</c:f>
              <c:numCache>
                <c:formatCode>General</c:formatCode>
                <c:ptCount val="6"/>
                <c:pt idx="0">
                  <c:v>0.61626297448540235</c:v>
                </c:pt>
                <c:pt idx="1">
                  <c:v>0.45553000556614609</c:v>
                </c:pt>
                <c:pt idx="2">
                  <c:v>0.38373702551459765</c:v>
                </c:pt>
                <c:pt idx="3">
                  <c:v>0.27390490961735309</c:v>
                </c:pt>
                <c:pt idx="4">
                  <c:v>0.14288339869003119</c:v>
                </c:pt>
                <c:pt idx="5">
                  <c:v>0.1276816861264696</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5 Sensitive 1 Handle + 20 Cartridges</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006C6D"/>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r>
                      <a:rPr lang="en-GB" sz="500">
                        <a:solidFill>
                          <a:srgbClr val="006C6D"/>
                        </a:solidFill>
                      </a:rPr>
                      <a:t>Schick Hydro 5 Sensitive 1 Handle + 20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Custom Plus 3 Sensitive Disposable Razors 30 Pack</c:v>
                </c:pt>
                <c:pt idx="2">
                  <c:v>Gillette Mach 3 Advanced Refills 20 Pack</c:v>
                </c:pt>
                <c:pt idx="3">
                  <c:v>None Razors</c:v>
                </c:pt>
                <c:pt idx="4">
                  <c:v>Harry's Razor Set Chrome Edition 1 Handle + 13 Cartridges</c:v>
                </c:pt>
                <c:pt idx="5">
                  <c:v>Schick Hydro 5 Sensitive 1 Handle + 20 Cartridges</c:v>
                </c:pt>
              </c:strCache>
            </c:strRef>
          </c:cat>
          <c:val>
            <c:numRef>
              <c:f>Sheet1!$B$2:$B$7</c:f>
              <c:numCache>
                <c:formatCode>General</c:formatCode>
                <c:ptCount val="6"/>
                <c:pt idx="0">
                  <c:v>0.61583536315904919</c:v>
                </c:pt>
                <c:pt idx="1">
                  <c:v>0.4654908856048755</c:v>
                </c:pt>
                <c:pt idx="2">
                  <c:v>0.3841646368409507</c:v>
                </c:pt>
                <c:pt idx="3">
                  <c:v>0.27695897475175729</c:v>
                </c:pt>
                <c:pt idx="4">
                  <c:v>0.14859187186857661</c:v>
                </c:pt>
                <c:pt idx="5">
                  <c:v>0.10895826777479051</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Quattro Titanium 4 Blade Systems 1 Handle + 13 Cartridges</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006C6D"/>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r>
                      <a:rPr lang="en-GB" sz="500">
                        <a:solidFill>
                          <a:srgbClr val="006C6D"/>
                        </a:solidFill>
                      </a:rPr>
                      <a:t>Schick Quattro Titanium 4 Blade Systems 1 Handle + 13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Custom Plus 3 Sensitive Disposable Razors 30 Pack</c:v>
                </c:pt>
                <c:pt idx="2">
                  <c:v>Gillette Mach 3 Advanced Refills 20 Pack</c:v>
                </c:pt>
                <c:pt idx="3">
                  <c:v>None Razors</c:v>
                </c:pt>
                <c:pt idx="4">
                  <c:v>Schick Quattro Titanium 4 Blade Systems 1 Handle + 13 Cartridges</c:v>
                </c:pt>
                <c:pt idx="5">
                  <c:v>Harry's Razor Set Chrome Edition 1 Handle + 13 Cartridges</c:v>
                </c:pt>
              </c:strCache>
            </c:strRef>
          </c:cat>
          <c:val>
            <c:numRef>
              <c:f>Sheet1!$B$2:$B$7</c:f>
              <c:numCache>
                <c:formatCode>General</c:formatCode>
                <c:ptCount val="6"/>
                <c:pt idx="0">
                  <c:v>0.6167817021016273</c:v>
                </c:pt>
                <c:pt idx="1">
                  <c:v>0.45523228343394645</c:v>
                </c:pt>
                <c:pt idx="2">
                  <c:v>0.3832182978983727</c:v>
                </c:pt>
                <c:pt idx="3">
                  <c:v>0.25677448910676226</c:v>
                </c:pt>
                <c:pt idx="4">
                  <c:v>0.15181087568751067</c:v>
                </c:pt>
                <c:pt idx="5">
                  <c:v>0.13618235177178062</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Schick Razor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Hydro 3 Ultra Sensitive 1 Handle + 20 Cartridges @19.99</c:v>
                </c:pt>
                <c:pt idx="1">
                  <c:v>Schick Hydro 5 Sensitive 1 Handle + 16 Cartridges @28.99</c:v>
                </c:pt>
                <c:pt idx="2">
                  <c:v>Schick Hydro 5 Sensitive 1 Handle + 20 Cartridges @35.99</c:v>
                </c:pt>
                <c:pt idx="3">
                  <c:v>Schick Quattro Titanium 4 Blade Systems 1 Handle + 13 Cartridges @19.99</c:v>
                </c:pt>
              </c:strCache>
            </c:strRef>
          </c:cat>
          <c:val>
            <c:numRef>
              <c:f>Sheet1!$B$2:$B$5</c:f>
              <c:numCache>
                <c:formatCode>General</c:formatCode>
                <c:ptCount val="4"/>
                <c:pt idx="0">
                  <c:v>100</c:v>
                </c:pt>
                <c:pt idx="1">
                  <c:v>100</c:v>
                </c:pt>
                <c:pt idx="2">
                  <c:v>100</c:v>
                </c:pt>
                <c:pt idx="3">
                  <c:v>100</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Schick Razor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Hydro 3 Ultra Sensitive 1 Handle + 20 Cartridges @19.99</c:v>
                </c:pt>
                <c:pt idx="1">
                  <c:v>Schick Hydro 5 Sensitive 1 Handle + 16 Cartridges @28.99</c:v>
                </c:pt>
                <c:pt idx="2">
                  <c:v>Schick Hydro 5 Sensitive 1 Handle + 20 Cartridges @35.99</c:v>
                </c:pt>
                <c:pt idx="3">
                  <c:v>Schick Quattro Titanium 4 Blade Systems 1 Handle + 13 Cartridges @19.99</c:v>
                </c:pt>
              </c:strCache>
            </c:strRef>
          </c:cat>
          <c:val>
            <c:numRef>
              <c:f>Sheet1!$C$2:$C$5</c:f>
              <c:numCache>
                <c:formatCode>General</c:formatCode>
                <c:ptCount val="4"/>
                <c:pt idx="0">
                  <c:v>100</c:v>
                </c:pt>
                <c:pt idx="1">
                  <c:v>100</c:v>
                </c:pt>
                <c:pt idx="2">
                  <c:v>100</c:v>
                </c:pt>
                <c:pt idx="3">
                  <c:v>100</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Schick Razor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Hydro 3 Ultra Sensitive 1 Handle + 20 Cartridges @19.99</c:v>
                </c:pt>
                <c:pt idx="1">
                  <c:v>Schick Hydro 5 Sensitive 1 Handle + 16 Cartridges @28.99</c:v>
                </c:pt>
                <c:pt idx="2">
                  <c:v>Schick Hydro 5 Sensitive 1 Handle + 20 Cartridges @35.99</c:v>
                </c:pt>
                <c:pt idx="3">
                  <c:v>Schick Quattro Titanium 4 Blade Systems 1 Handle + 13 Cartridges @19.99</c:v>
                </c:pt>
              </c:strCache>
            </c:strRef>
          </c:cat>
          <c:val>
            <c:numRef>
              <c:f>Sheet1!$D$2:$D$5</c:f>
              <c:numCache>
                <c:formatCode>General</c:formatCode>
                <c:ptCount val="4"/>
                <c:pt idx="0">
                  <c:v>100</c:v>
                </c:pt>
                <c:pt idx="1">
                  <c:v>100</c:v>
                </c:pt>
                <c:pt idx="2">
                  <c:v>100</c:v>
                </c:pt>
                <c:pt idx="3">
                  <c:v>100</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Kirkland Dispo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Kirkland Disposable Razors 20 pack  @14.99</c:v>
                </c:pt>
                <c:pt idx="1">
                  <c:v>Kirkland Disposable Razors 30 pack  @21.99</c:v>
                </c:pt>
              </c:strCache>
            </c:strRef>
          </c:cat>
          <c:val>
            <c:numRef>
              <c:f>Sheet1!$B$2:$B$3</c:f>
              <c:numCache>
                <c:formatCode>General</c:formatCode>
                <c:ptCount val="2"/>
                <c:pt idx="0">
                  <c:v>100</c:v>
                </c:pt>
                <c:pt idx="1">
                  <c:v>100</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Kirkland Dispo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Kirkland Disposable Razors 20 pack  @14.99</c:v>
                </c:pt>
                <c:pt idx="1">
                  <c:v>Kirkland Disposable Razors 30 pack  @21.99</c:v>
                </c:pt>
              </c:strCache>
            </c:strRef>
          </c:cat>
          <c:val>
            <c:numRef>
              <c:f>Sheet1!$C$2:$C$3</c:f>
              <c:numCache>
                <c:formatCode>General</c:formatCode>
                <c:ptCount val="2"/>
                <c:pt idx="0">
                  <c:v>100</c:v>
                </c:pt>
                <c:pt idx="1">
                  <c:v>100</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Kirkland Dispo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Kirkland Disposable Razors 20 pack  @14.99</c:v>
                </c:pt>
                <c:pt idx="1">
                  <c:v>Kirkland Disposable Razors 30 pack  @21.99</c:v>
                </c:pt>
              </c:strCache>
            </c:strRef>
          </c:cat>
          <c:val>
            <c:numRef>
              <c:f>Sheet1!$D$2:$D$3</c:f>
              <c:numCache>
                <c:formatCode>General</c:formatCode>
                <c:ptCount val="2"/>
                <c:pt idx="0">
                  <c:v>100</c:v>
                </c:pt>
                <c:pt idx="1">
                  <c:v>100</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Schick Hydro 3 Ultra Sensitive 1 Handle + 20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Harry's Razor Set Chrome Edition 1 Handle + 13 Cartridges</c:v>
                </c:pt>
                <c:pt idx="2">
                  <c:v>None Razors</c:v>
                </c:pt>
                <c:pt idx="3">
                  <c:v>Gillette Proglide Plus Refills 16 Pack</c:v>
                </c:pt>
                <c:pt idx="4">
                  <c:v>Schick Xtreme 2 Sensitive Disposable Razors 60 Pack</c:v>
                </c:pt>
                <c:pt idx="5">
                  <c:v>Schick Xtreme 3 Sensitive Disposable Razors 20 Pack</c:v>
                </c:pt>
                <c:pt idx="6">
                  <c:v>Schick Xtreme 2 Sensitive Disposable Razors 48 Pack</c:v>
                </c:pt>
                <c:pt idx="7">
                  <c:v>Schick Xtreme 3 Sensitive Disposable Razors 30 Pack</c:v>
                </c:pt>
                <c:pt idx="8">
                  <c:v>Gillette Sensor 2 Plus Disposable Razors 52 Pack</c:v>
                </c:pt>
                <c:pt idx="9">
                  <c:v>Gillette Sensor 3 Sensitive Disposable Razors 24 Pack</c:v>
                </c:pt>
                <c:pt idx="10">
                  <c:v>Bic Flex 5 Disposable Razors 9 Pack </c:v>
                </c:pt>
              </c:strCache>
            </c:strRef>
          </c:cat>
          <c:val>
            <c:numRef>
              <c:f>Sheet1!$B$2:$B$12</c:f>
              <c:numCache>
                <c:formatCode>General</c:formatCode>
                <c:ptCount val="11"/>
                <c:pt idx="0">
                  <c:v>0.43899153879431496</c:v>
                </c:pt>
                <c:pt idx="1">
                  <c:v>0.24901704080280004</c:v>
                </c:pt>
                <c:pt idx="2">
                  <c:v>0.31199142040288447</c:v>
                </c:pt>
                <c:pt idx="3">
                  <c:v>9.181422882821616E-3</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Schick Hydro 5 Sensitive 1 Handle + 16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Harry's Razor Set Chrome Edition 1 Handle + 13 Cartridges</c:v>
                </c:pt>
                <c:pt idx="2">
                  <c:v>None Razors</c:v>
                </c:pt>
                <c:pt idx="3">
                  <c:v>Gillette Proglide Plus Refills 16 Pack</c:v>
                </c:pt>
                <c:pt idx="4">
                  <c:v>Schick Xtreme 2 Sensitive Disposable Razors 60 Pack</c:v>
                </c:pt>
                <c:pt idx="5">
                  <c:v>Schick Xtreme 3 Sensitive Disposable Razors 20 Pack</c:v>
                </c:pt>
                <c:pt idx="6">
                  <c:v>Schick Xtreme 2 Sensitive Disposable Razors 48 Pack</c:v>
                </c:pt>
                <c:pt idx="7">
                  <c:v>Schick Xtreme 3 Sensitive Disposable Razors 30 Pack</c:v>
                </c:pt>
                <c:pt idx="8">
                  <c:v>Gillette Sensor 2 Plus Disposable Razors 52 Pack</c:v>
                </c:pt>
                <c:pt idx="9">
                  <c:v>Gillette Sensor 3 Sensitive Disposable Razors 24 Pack</c:v>
                </c:pt>
                <c:pt idx="10">
                  <c:v>Bic Flex 5 Disposable Razors 9 Pack </c:v>
                </c:pt>
              </c:strCache>
            </c:strRef>
          </c:cat>
          <c:val>
            <c:numRef>
              <c:f>Sheet1!$B$2:$B$12</c:f>
              <c:numCache>
                <c:formatCode>General</c:formatCode>
                <c:ptCount val="11"/>
                <c:pt idx="0">
                  <c:v>0.48901838120245711</c:v>
                </c:pt>
                <c:pt idx="1">
                  <c:v>0.29530944047360685</c:v>
                </c:pt>
                <c:pt idx="2">
                  <c:v>0.21567217832393484</c:v>
                </c:pt>
                <c:pt idx="3">
                  <c:v>1.5180779809642695E-2</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Hydro 5 Sensitive 1 Handle + 20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Harry's Razor Set Chrome Edition 1 Handle + 13 Cartridges</c:v>
                </c:pt>
                <c:pt idx="2">
                  <c:v>None Razors</c:v>
                </c:pt>
                <c:pt idx="3">
                  <c:v>Gillette Proglide Plus Refills 16 Pack</c:v>
                </c:pt>
                <c:pt idx="4">
                  <c:v>Schick Xtreme 2 Sensitive Disposable Razors 60 Pack</c:v>
                </c:pt>
                <c:pt idx="5">
                  <c:v>Schick Xtreme 3 Sensitive Disposable Razors 20 Pack</c:v>
                </c:pt>
                <c:pt idx="6">
                  <c:v>Schick Xtreme 2 Sensitive Disposable Razors 48 Pack</c:v>
                </c:pt>
                <c:pt idx="7">
                  <c:v>Schick Xtreme 3 Sensitive Disposable Razors 30 Pack</c:v>
                </c:pt>
                <c:pt idx="8">
                  <c:v>Gillette Sensor 2 Plus Disposable Razors 52 Pack</c:v>
                </c:pt>
                <c:pt idx="9">
                  <c:v>Gillette Sensor 3 Sensitive Disposable Razors 24 Pack</c:v>
                </c:pt>
                <c:pt idx="10">
                  <c:v>Bic Flex 5 Disposable Razors 9 Pack </c:v>
                </c:pt>
              </c:strCache>
            </c:strRef>
          </c:cat>
          <c:val>
            <c:numRef>
              <c:f>Sheet1!$B$2:$B$12</c:f>
              <c:numCache>
                <c:formatCode>General</c:formatCode>
                <c:ptCount val="11"/>
                <c:pt idx="0">
                  <c:v>0.48599149655270374</c:v>
                </c:pt>
                <c:pt idx="1">
                  <c:v>0.28943407853603076</c:v>
                </c:pt>
                <c:pt idx="2">
                  <c:v>0.22457442491126214</c:v>
                </c:pt>
                <c:pt idx="3">
                  <c:v>2.1867174798293466E-2</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Quattro Titanium 4 Blade Systems 1 Handle + 13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Harry's Razor Set Chrome Edition 1 Handle + 13 Cartridges</c:v>
                </c:pt>
                <c:pt idx="2">
                  <c:v>None Razors</c:v>
                </c:pt>
                <c:pt idx="3">
                  <c:v>Gillette Proglide Plus Refills 16 Pack</c:v>
                </c:pt>
                <c:pt idx="4">
                  <c:v>Schick Xtreme 2 Sensitive Disposable Razors 60 Pack</c:v>
                </c:pt>
                <c:pt idx="5">
                  <c:v>Schick Xtreme 3 Sensitive Disposable Razors 20 Pack</c:v>
                </c:pt>
                <c:pt idx="6">
                  <c:v>Schick Xtreme 2 Sensitive Disposable Razors 48 Pack</c:v>
                </c:pt>
                <c:pt idx="7">
                  <c:v>Schick Xtreme 3 Sensitive Disposable Razors 30 Pack</c:v>
                </c:pt>
                <c:pt idx="8">
                  <c:v>Gillette Sensor 2 Plus Disposable Razors 52 Pack</c:v>
                </c:pt>
                <c:pt idx="9">
                  <c:v>Gillette Sensor 3 Sensitive Disposable Razors 24 Pack</c:v>
                </c:pt>
                <c:pt idx="10">
                  <c:v>Bic Flex 5 Disposable Razors 9 Pack </c:v>
                </c:pt>
              </c:strCache>
            </c:strRef>
          </c:cat>
          <c:val>
            <c:numRef>
              <c:f>Sheet1!$B$2:$B$12</c:f>
              <c:numCache>
                <c:formatCode>General</c:formatCode>
                <c:ptCount val="11"/>
                <c:pt idx="0">
                  <c:v>0.40141975526970619</c:v>
                </c:pt>
                <c:pt idx="1">
                  <c:v>0.29711496378643459</c:v>
                </c:pt>
                <c:pt idx="2">
                  <c:v>0.30146528094385855</c:v>
                </c:pt>
                <c:pt idx="3">
                  <c:v>9.2260189446366266E-3</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Kirkland Disposable Razors 20 pack </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None Razors</c:v>
                </c:pt>
                <c:pt idx="2">
                  <c:v>Harry's Razor Set Chrome Edition 1 Handle + 13 Cartridges</c:v>
                </c:pt>
                <c:pt idx="3">
                  <c:v>Gillette Proglide Plus Refills 16 Pack</c:v>
                </c:pt>
                <c:pt idx="4">
                  <c:v>Schick Xtreme 2 Sensitive Disposable Razors 60 Pack</c:v>
                </c:pt>
                <c:pt idx="5">
                  <c:v>Schick Xtreme 3 Sensitive Disposable Razors 20 Pack</c:v>
                </c:pt>
                <c:pt idx="6">
                  <c:v>Schick Xtreme 2 Sensitive Disposable Razors 48 Pack</c:v>
                </c:pt>
                <c:pt idx="7">
                  <c:v>Schick Xtreme 3 Sensitive Disposable Razors 30 Pack</c:v>
                </c:pt>
                <c:pt idx="8">
                  <c:v>Schick Hydro 5 Sensitive 1 Handle + 16 Cartridges</c:v>
                </c:pt>
                <c:pt idx="9">
                  <c:v>Schick Hydro 5 Sensitive 1 Handle + 20 Cartridges</c:v>
                </c:pt>
                <c:pt idx="10">
                  <c:v>Bic Flex 5 Disposable Razors 9 Pack </c:v>
                </c:pt>
              </c:strCache>
            </c:strRef>
          </c:cat>
          <c:val>
            <c:numRef>
              <c:f>Sheet1!$B$2:$B$12</c:f>
              <c:numCache>
                <c:formatCode>General</c:formatCode>
                <c:ptCount val="11"/>
                <c:pt idx="0">
                  <c:v>0.61197343039601304</c:v>
                </c:pt>
                <c:pt idx="1">
                  <c:v>0.24056735833945805</c:v>
                </c:pt>
                <c:pt idx="2">
                  <c:v>0.14745921126452793</c:v>
                </c:pt>
                <c:pt idx="3">
                  <c:v>5.752090230542393E-3</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Kirkland Disposable Razors 30 pack </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None Razors</c:v>
                </c:pt>
                <c:pt idx="2">
                  <c:v>Harry's Razor Set Chrome Edition 1 Handle + 13 Cartridges</c:v>
                </c:pt>
                <c:pt idx="3">
                  <c:v>Gillette Proglide Plus Refills 16 Pack</c:v>
                </c:pt>
                <c:pt idx="4">
                  <c:v>Schick Xtreme 2 Sensitive Disposable Razors 60 Pack</c:v>
                </c:pt>
                <c:pt idx="5">
                  <c:v>Schick Xtreme 3 Sensitive Disposable Razors 20 Pack</c:v>
                </c:pt>
                <c:pt idx="6">
                  <c:v>Schick Xtreme 2 Sensitive Disposable Razors 48 Pack</c:v>
                </c:pt>
                <c:pt idx="7">
                  <c:v>Schick Xtreme 3 Sensitive Disposable Razors 30 Pack</c:v>
                </c:pt>
                <c:pt idx="8">
                  <c:v>Schick Hydro 5 Sensitive 1 Handle + 16 Cartridges</c:v>
                </c:pt>
                <c:pt idx="9">
                  <c:v>Schick Hydro 5 Sensitive 1 Handle + 20 Cartridges</c:v>
                </c:pt>
                <c:pt idx="10">
                  <c:v>Bic Flex 5 Disposable Razors 9 Pack </c:v>
                </c:pt>
              </c:strCache>
            </c:strRef>
          </c:cat>
          <c:val>
            <c:numRef>
              <c:f>Sheet1!$B$2:$B$12</c:f>
              <c:numCache>
                <c:formatCode>General</c:formatCode>
                <c:ptCount val="11"/>
                <c:pt idx="0">
                  <c:v>0.6588491030130843</c:v>
                </c:pt>
                <c:pt idx="1">
                  <c:v>0.18939446179749697</c:v>
                </c:pt>
                <c:pt idx="2">
                  <c:v>0.15175643518941773</c:v>
                </c:pt>
                <c:pt idx="3">
                  <c:v>5.2754622100460707E-3</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Kirkland 5 blades 1 Handle + 13 Cartridges</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006C6D"/>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r>
                      <a:rPr lang="en-GB" sz="500">
                        <a:solidFill>
                          <a:srgbClr val="006C6D"/>
                        </a:solidFill>
                      </a:rPr>
                      <a:t>Kirkland 5 blades 1 Handle + 13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Custom Plus 3 Sensitive Disposable Razors 30 Pack</c:v>
                </c:pt>
                <c:pt idx="2">
                  <c:v>Gillette Mach 3 Advanced Refills 20 Pack</c:v>
                </c:pt>
                <c:pt idx="3">
                  <c:v>None Razors</c:v>
                </c:pt>
                <c:pt idx="4">
                  <c:v>Kirkland 5 blades 1 Handle + 13 Cartridges</c:v>
                </c:pt>
                <c:pt idx="5">
                  <c:v>Harry's Razor Set Chrome Edition 1 Handle + 13 Cartridges</c:v>
                </c:pt>
              </c:strCache>
            </c:strRef>
          </c:cat>
          <c:val>
            <c:numRef>
              <c:f>Sheet1!$B$2:$B$7</c:f>
              <c:numCache>
                <c:formatCode>General</c:formatCode>
                <c:ptCount val="6"/>
                <c:pt idx="0">
                  <c:v>0.61392022782356503</c:v>
                </c:pt>
                <c:pt idx="1">
                  <c:v>0.438127507892898</c:v>
                </c:pt>
                <c:pt idx="2">
                  <c:v>0.38607977217643502</c:v>
                </c:pt>
                <c:pt idx="3">
                  <c:v>0.25184598944756292</c:v>
                </c:pt>
                <c:pt idx="4">
                  <c:v>0.18394089652985843</c:v>
                </c:pt>
                <c:pt idx="5">
                  <c:v>0.12608560612968073</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Kirkland Razor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Kirkland 5 blades 1 Handle + 13 Cartridges @19.99</c:v>
                </c:pt>
              </c:strCache>
            </c:strRef>
          </c:cat>
          <c:val>
            <c:numRef>
              <c:f>Sheet1!$B$2:$B$2</c:f>
              <c:numCache>
                <c:formatCode>General</c:formatCode>
                <c:ptCount val="1"/>
                <c:pt idx="0">
                  <c:v>100</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Kirkland Razor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Kirkland 5 blades 1 Handle + 13 Cartridges @19.99</c:v>
                </c:pt>
              </c:strCache>
            </c:strRef>
          </c:cat>
          <c:val>
            <c:numRef>
              <c:f>Sheet1!$C$2:$C$2</c:f>
              <c:numCache>
                <c:formatCode>General</c:formatCode>
                <c:ptCount val="1"/>
                <c:pt idx="0">
                  <c:v>100</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Kirkland Razor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Kirkland 5 blades 1 Handle + 13 Cartridges @19.99</c:v>
                </c:pt>
              </c:strCache>
            </c:strRef>
          </c:cat>
          <c:val>
            <c:numRef>
              <c:f>Sheet1!$D$2:$D$2</c:f>
              <c:numCache>
                <c:formatCode>General</c:formatCode>
                <c:ptCount val="1"/>
                <c:pt idx="0">
                  <c:v>100</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Kirkland 5 blades 1 Handle + 13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Harry's Razor Set Chrome Edition 1 Handle + 13 Cartridges</c:v>
                </c:pt>
                <c:pt idx="2">
                  <c:v>None Razors</c:v>
                </c:pt>
                <c:pt idx="3">
                  <c:v>Gillette Proglide Plus Refills 16 Pack</c:v>
                </c:pt>
                <c:pt idx="4">
                  <c:v>Schick Xtreme 2 Sensitive Disposable Razors 60 Pack</c:v>
                </c:pt>
                <c:pt idx="5">
                  <c:v>Schick Xtreme 3 Sensitive Disposable Razors 20 Pack</c:v>
                </c:pt>
                <c:pt idx="6">
                  <c:v>Schick Xtreme 2 Sensitive Disposable Razors 48 Pack</c:v>
                </c:pt>
                <c:pt idx="7">
                  <c:v>Schick Xtreme 3 Sensitive Disposable Razors 30 Pack</c:v>
                </c:pt>
                <c:pt idx="8">
                  <c:v>Gillette Sensor 2 Plus Disposable Razors 52 Pack</c:v>
                </c:pt>
                <c:pt idx="9">
                  <c:v>Gillette Sensor 3 Sensitive Disposable Razors 24 Pack</c:v>
                </c:pt>
                <c:pt idx="10">
                  <c:v>Bic Flex 5 Disposable Razors 9 Pack </c:v>
                </c:pt>
              </c:strCache>
            </c:strRef>
          </c:cat>
          <c:val>
            <c:numRef>
              <c:f>Sheet1!$B$2:$B$12</c:f>
              <c:numCache>
                <c:formatCode>General</c:formatCode>
                <c:ptCount val="11"/>
                <c:pt idx="0">
                  <c:v>0.42120816505316966</c:v>
                </c:pt>
                <c:pt idx="1">
                  <c:v>0.29792331837754432</c:v>
                </c:pt>
                <c:pt idx="2">
                  <c:v>0.2808685165692858</c:v>
                </c:pt>
                <c:pt idx="3">
                  <c:v>2.3677193377583384E-2</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5 Blade Sensitive Refills 16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006C6D"/>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r>
                      <a:rPr lang="en-GB" sz="500">
                        <a:solidFill>
                          <a:srgbClr val="006C6D"/>
                        </a:solidFill>
                      </a:rPr>
                      <a:t>Schick Hydro 5 Blade Sensitive Refills 16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Custom Plus 3 Sensitive Disposable Razors 30 Pack</c:v>
                </c:pt>
                <c:pt idx="1">
                  <c:v>Gillette Proglide Plus Refills 16 Pack</c:v>
                </c:pt>
                <c:pt idx="2">
                  <c:v>Gillette Mach 3 Advanced Refills 20 Pack</c:v>
                </c:pt>
                <c:pt idx="3">
                  <c:v>None Razors</c:v>
                </c:pt>
                <c:pt idx="4">
                  <c:v>Harry's Razor Set Chrome Edition 1 Handle + 13 Cartridges</c:v>
                </c:pt>
                <c:pt idx="5">
                  <c:v>Schick Hydro 5 Blade Sensitive Refills 16 Pack</c:v>
                </c:pt>
              </c:strCache>
            </c:strRef>
          </c:cat>
          <c:val>
            <c:numRef>
              <c:f>Sheet1!$B$2:$B$7</c:f>
              <c:numCache>
                <c:formatCode>General</c:formatCode>
                <c:ptCount val="6"/>
                <c:pt idx="0">
                  <c:v>0.51972581924980665</c:v>
                </c:pt>
                <c:pt idx="1">
                  <c:v>0.51452592951493459</c:v>
                </c:pt>
                <c:pt idx="2">
                  <c:v>0.3173431491274144</c:v>
                </c:pt>
                <c:pt idx="3">
                  <c:v>0.30137091989253156</c:v>
                </c:pt>
                <c:pt idx="4">
                  <c:v>0.17890326085766167</c:v>
                </c:pt>
                <c:pt idx="5">
                  <c:v>0.16813092135765109</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09/10/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7B50E5-7D92-75C5-7BC0-392578B7A4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ACC453-C5A6-423A-835C-E8C3BB5580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B41394-1106-6B90-4A8B-5DE140EF742B}"/>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9F77AB9F-833A-1AAD-AC6C-A59548FC01D7}"/>
              </a:ext>
            </a:extLst>
          </p:cNvPr>
          <p:cNvSpPr>
            <a:spLocks noGrp="1"/>
          </p:cNvSpPr>
          <p:nvPr>
            <p:ph type="sldNum" sz="quarter" idx="5"/>
          </p:nvPr>
        </p:nvSpPr>
        <p:spPr/>
        <p:txBody>
          <a:bodyPr/>
          <a:lstStyle/>
          <a:p>
            <a:fld id="{4CEE16E6-1DE9-413F-AA9F-05985E570417}" type="slidenum">
              <a:rPr lang="en-US" smtClean="0"/>
              <a:t>1</a:t>
            </a:fld>
            <a:endParaRPr lang="en-US"/>
          </a:p>
        </p:txBody>
      </p:sp>
    </p:spTree>
    <p:extLst>
      <p:ext uri="{BB962C8B-B14F-4D97-AF65-F5344CB8AC3E}">
        <p14:creationId xmlns:p14="http://schemas.microsoft.com/office/powerpoint/2010/main" val="36537841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A2BE8B-857A-BBED-1802-808CD0ED16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FDC002-019A-807D-E291-F9E384B7DB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0C6773-2839-12C7-8D22-7E93DF37B58A}"/>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BE788431-6997-D6A2-2ABC-7F958ECA0209}"/>
              </a:ext>
            </a:extLst>
          </p:cNvPr>
          <p:cNvSpPr>
            <a:spLocks noGrp="1"/>
          </p:cNvSpPr>
          <p:nvPr>
            <p:ph type="sldNum" sz="quarter" idx="5"/>
          </p:nvPr>
        </p:nvSpPr>
        <p:spPr/>
        <p:txBody>
          <a:bodyPr/>
          <a:lstStyle/>
          <a:p>
            <a:fld id="{4CEE16E6-1DE9-413F-AA9F-05985E570417}" type="slidenum">
              <a:rPr lang="en-US" smtClean="0"/>
              <a:t>5</a:t>
            </a:fld>
            <a:endParaRPr lang="en-US"/>
          </a:p>
        </p:txBody>
      </p:sp>
    </p:spTree>
    <p:extLst>
      <p:ext uri="{BB962C8B-B14F-4D97-AF65-F5344CB8AC3E}">
        <p14:creationId xmlns:p14="http://schemas.microsoft.com/office/powerpoint/2010/main" val="34155162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2B3CB9-006A-5F8F-2860-784FBA2F19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64F38B-E2F3-E8AE-D60F-A701389627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2BC107-595F-26A2-CDAB-F1E0D855229A}"/>
              </a:ext>
            </a:extLst>
          </p:cNvPr>
          <p:cNvSpPr>
            <a:spLocks noGrp="1"/>
          </p:cNvSpPr>
          <p:nvPr>
            <p:ph type="body" idx="1"/>
          </p:nvPr>
        </p:nvSpPr>
        <p:spPr/>
        <p:txBody>
          <a:bodyPr/>
          <a:lstStyle/>
          <a:p>
            <a:endParaRPr lang="en-CH" dirty="0"/>
          </a:p>
        </p:txBody>
      </p:sp>
      <p:sp>
        <p:nvSpPr>
          <p:cNvPr id="4" name="Slide Number Placeholder 3">
            <a:extLst>
              <a:ext uri="{FF2B5EF4-FFF2-40B4-BE49-F238E27FC236}">
                <a16:creationId xmlns:a16="http://schemas.microsoft.com/office/drawing/2014/main" id="{54BF3EEA-8E39-86A3-1DEC-392B82848E99}"/>
              </a:ext>
            </a:extLst>
          </p:cNvPr>
          <p:cNvSpPr>
            <a:spLocks noGrp="1"/>
          </p:cNvSpPr>
          <p:nvPr>
            <p:ph type="sldNum" sz="quarter" idx="5"/>
          </p:nvPr>
        </p:nvSpPr>
        <p:spPr/>
        <p:txBody>
          <a:bodyPr/>
          <a:lstStyle/>
          <a:p>
            <a:fld id="{37E13843-85DD-499F-B752-681F6384D798}" type="slidenum">
              <a:rPr lang="en-CH" smtClean="0"/>
              <a:t>6</a:t>
            </a:fld>
            <a:endParaRPr lang="en-CH"/>
          </a:p>
        </p:txBody>
      </p:sp>
    </p:spTree>
    <p:extLst>
      <p:ext uri="{BB962C8B-B14F-4D97-AF65-F5344CB8AC3E}">
        <p14:creationId xmlns:p14="http://schemas.microsoft.com/office/powerpoint/2010/main" val="26439220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7BDDDA-D23A-5A62-8D5D-B6EA341710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DF0F77-66BD-6D31-7612-FAC995644DC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974630-3347-44A1-F0CA-D60658653CBC}"/>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62E91B41-82D1-C7DE-1A97-791E0C6A1C3C}"/>
              </a:ext>
            </a:extLst>
          </p:cNvPr>
          <p:cNvSpPr>
            <a:spLocks noGrp="1"/>
          </p:cNvSpPr>
          <p:nvPr>
            <p:ph type="sldNum" sz="quarter" idx="5"/>
          </p:nvPr>
        </p:nvSpPr>
        <p:spPr/>
        <p:txBody>
          <a:bodyPr/>
          <a:lstStyle/>
          <a:p>
            <a:fld id="{4CEE16E6-1DE9-413F-AA9F-05985E570417}" type="slidenum">
              <a:rPr lang="en-US" smtClean="0"/>
              <a:t>9</a:t>
            </a:fld>
            <a:endParaRPr lang="en-US"/>
          </a:p>
        </p:txBody>
      </p:sp>
    </p:spTree>
    <p:extLst>
      <p:ext uri="{BB962C8B-B14F-4D97-AF65-F5344CB8AC3E}">
        <p14:creationId xmlns:p14="http://schemas.microsoft.com/office/powerpoint/2010/main" val="18930658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73C345-8DEE-BD05-4307-5DFF3C777F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98A0E6-C297-4AAB-56C9-7A6E8331C7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C4162E-47B5-3C02-CA1A-C3312C63008A}"/>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80038C66-A76A-7091-C651-9FDBFF8A6793}"/>
              </a:ext>
            </a:extLst>
          </p:cNvPr>
          <p:cNvSpPr>
            <a:spLocks noGrp="1"/>
          </p:cNvSpPr>
          <p:nvPr>
            <p:ph type="sldNum" sz="quarter" idx="5"/>
          </p:nvPr>
        </p:nvSpPr>
        <p:spPr/>
        <p:txBody>
          <a:bodyPr/>
          <a:lstStyle/>
          <a:p>
            <a:fld id="{4CEE16E6-1DE9-413F-AA9F-05985E570417}" type="slidenum">
              <a:rPr lang="en-US" smtClean="0"/>
              <a:t>13</a:t>
            </a:fld>
            <a:endParaRPr lang="en-US"/>
          </a:p>
        </p:txBody>
      </p:sp>
    </p:spTree>
    <p:extLst>
      <p:ext uri="{BB962C8B-B14F-4D97-AF65-F5344CB8AC3E}">
        <p14:creationId xmlns:p14="http://schemas.microsoft.com/office/powerpoint/2010/main" val="1224412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CEB6C0-D457-1EE3-0A96-DBC3F47BB45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77C4A6-3022-5E5A-0DAA-BD016B6253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6CB76C-9C1B-0978-AC2C-10BB7D8337A6}"/>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96BB011C-3F85-9775-F5BE-1A5518FDC902}"/>
              </a:ext>
            </a:extLst>
          </p:cNvPr>
          <p:cNvSpPr>
            <a:spLocks noGrp="1"/>
          </p:cNvSpPr>
          <p:nvPr>
            <p:ph type="sldNum" sz="quarter" idx="5"/>
          </p:nvPr>
        </p:nvSpPr>
        <p:spPr/>
        <p:txBody>
          <a:bodyPr/>
          <a:lstStyle/>
          <a:p>
            <a:fld id="{4CEE16E6-1DE9-413F-AA9F-05985E570417}" type="slidenum">
              <a:rPr lang="en-US" smtClean="0"/>
              <a:t>17</a:t>
            </a:fld>
            <a:endParaRPr lang="en-US"/>
          </a:p>
        </p:txBody>
      </p:sp>
    </p:spTree>
    <p:extLst>
      <p:ext uri="{BB962C8B-B14F-4D97-AF65-F5344CB8AC3E}">
        <p14:creationId xmlns:p14="http://schemas.microsoft.com/office/powerpoint/2010/main" val="23707144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0/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13.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oleObject" Target="../embeddings/oleObject28.bin"/><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image" Target="../media/image28.emf"/><Relationship Id="rId9" Type="http://schemas.openxmlformats.org/officeDocument/2006/relationships/chart" Target="../charts/chart18.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9.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oleObject" Target="../embeddings/oleObject28.bin"/><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21.xml"/><Relationship Id="rId5" Type="http://schemas.openxmlformats.org/officeDocument/2006/relationships/chart" Target="../charts/chart20.xml"/><Relationship Id="rId4" Type="http://schemas.openxmlformats.org/officeDocument/2006/relationships/image" Target="../media/image28.emf"/><Relationship Id="rId9" Type="http://schemas.openxmlformats.org/officeDocument/2006/relationships/chart" Target="../charts/chart2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8" Type="http://schemas.openxmlformats.org/officeDocument/2006/relationships/chart" Target="../charts/chart28.xml"/><Relationship Id="rId3" Type="http://schemas.openxmlformats.org/officeDocument/2006/relationships/oleObject" Target="../embeddings/oleObject28.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2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8" Type="http://schemas.openxmlformats.org/officeDocument/2006/relationships/chart" Target="../charts/chart33.xml"/><Relationship Id="rId3" Type="http://schemas.openxmlformats.org/officeDocument/2006/relationships/oleObject" Target="../embeddings/oleObject28.bin"/><Relationship Id="rId7" Type="http://schemas.openxmlformats.org/officeDocument/2006/relationships/chart" Target="../charts/chart32.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31.xml"/><Relationship Id="rId5" Type="http://schemas.openxmlformats.org/officeDocument/2006/relationships/chart" Target="../charts/chart30.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9FF51C-E6AC-D316-D596-84BF35F66A18}"/>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76965F59-F8A1-35ED-205F-F12C7C3ABD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92C6DACE-902D-5B12-7ECA-E56751213F17}"/>
              </a:ext>
            </a:extLst>
          </p:cNvPr>
          <p:cNvSpPr>
            <a:spLocks noGrp="1"/>
          </p:cNvSpPr>
          <p:nvPr>
            <p:ph type="body" sz="quarter" idx="18"/>
          </p:nvPr>
        </p:nvSpPr>
        <p:spPr/>
        <p:txBody>
          <a:bodyPr/>
          <a:lstStyle/>
          <a:p>
            <a:r>
              <a:t>Summary | Innovations | Kirkland Dispo</a:t>
            </a:r>
          </a:p>
        </p:txBody>
      </p:sp>
      <p:sp>
        <p:nvSpPr>
          <p:cNvPr id="2" name="Title 1">
            <a:extLst>
              <a:ext uri="{FF2B5EF4-FFF2-40B4-BE49-F238E27FC236}">
                <a16:creationId xmlns:a16="http://schemas.microsoft.com/office/drawing/2014/main" id="{06E3A4F9-0717-7266-4C24-EFAFF5D2B7E4}"/>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2435BB4A-0882-16FE-8CE6-33DBC91E12DC}"/>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9/10/2025</a:t>
            </a:fld>
            <a:endParaRPr lang="en-US"/>
          </a:p>
        </p:txBody>
      </p:sp>
      <p:sp>
        <p:nvSpPr>
          <p:cNvPr id="19" name="Slide Number Placeholder 18">
            <a:extLst>
              <a:ext uri="{FF2B5EF4-FFF2-40B4-BE49-F238E27FC236}">
                <a16:creationId xmlns:a16="http://schemas.microsoft.com/office/drawing/2014/main" id="{D3E3CF45-0193-371E-9771-7D1DB8DE139F}"/>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a:t>
            </a:fld>
            <a:endParaRPr lang="en-US"/>
          </a:p>
        </p:txBody>
      </p:sp>
      <p:graphicFrame>
        <p:nvGraphicFramePr>
          <p:cNvPr id="7" name="Table 6">
            <a:extLst>
              <a:ext uri="{FF2B5EF4-FFF2-40B4-BE49-F238E27FC236}">
                <a16:creationId xmlns:a16="http://schemas.microsoft.com/office/drawing/2014/main" id="{902C8085-2F29-933A-1D69-7017A652D413}"/>
              </a:ext>
            </a:extLst>
          </p:cNvPr>
          <p:cNvGraphicFramePr>
            <a:graphicFrameLocks noGrp="1"/>
          </p:cNvGraphicFramePr>
          <p:nvPr/>
        </p:nvGraphicFramePr>
        <p:xfrm>
          <a:off x="503238" y="1049315"/>
          <a:ext cx="8243580" cy="373052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0">
                <a:tc>
                  <a:txBody>
                    <a:bodyPr/>
                    <a:lstStyle/>
                    <a:p>
                      <a:pPr algn="ctr">
                        <a:defRPr sz="800">
                          <a:latin typeface="Nexa Book"/>
                        </a:defRPr>
                      </a:pPr>
                      <a:r>
                        <a:rPr sz="700"/>
                        <a:t>Kirkland Disposable Razors 20 pack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65.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0">
                <a:tc>
                  <a:txBody>
                    <a:bodyPr/>
                    <a:lstStyle/>
                    <a:p>
                      <a:pPr algn="ctr">
                        <a:defRPr sz="800">
                          <a:latin typeface="Nexa Book"/>
                        </a:defRPr>
                      </a:pPr>
                      <a:r>
                        <a:rPr sz="700"/>
                        <a:t>Kirkland Disposable Razors 30 pack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65.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1ACA4D36-0D31-D792-54DC-CBA9E3EBF326}"/>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33165595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A07749-0AFD-6EFF-D0D9-99C29BB1B39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CD0C306-6F70-677B-9F8D-530A70781B9E}"/>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D71F61A1-D46B-60DE-CDA2-6DA9FA69F59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F16AC038-89D1-E9F3-DDAE-9E097F7EE4AC}"/>
              </a:ext>
            </a:extLst>
          </p:cNvPr>
          <p:cNvGraphicFramePr>
            <a:graphicFrameLocks/>
          </p:cNvGraphicFramePr>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88156F1E-F992-30C3-EED5-255D5BA441D9}"/>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9/10/2025</a:t>
            </a:fld>
            <a:endParaRPr lang="en-US" noProof="0"/>
          </a:p>
        </p:txBody>
      </p:sp>
      <p:sp>
        <p:nvSpPr>
          <p:cNvPr id="4" name="Footer Placeholder 3">
            <a:extLst>
              <a:ext uri="{FF2B5EF4-FFF2-40B4-BE49-F238E27FC236}">
                <a16:creationId xmlns:a16="http://schemas.microsoft.com/office/drawing/2014/main" id="{A7E2CD04-B6CF-555F-FE1A-60AAE50BA6C9}"/>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3239E1BC-B8FC-9988-783F-02B53B0F11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10" name="Content Placeholder 9">
            <a:extLst>
              <a:ext uri="{FF2B5EF4-FFF2-40B4-BE49-F238E27FC236}">
                <a16:creationId xmlns:a16="http://schemas.microsoft.com/office/drawing/2014/main" id="{0FFBD708-D4D7-3D13-B7D3-21923785E62A}"/>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4CEB4728-FDB4-51F9-7FC0-96E34784D3FF}"/>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Costco | Schick Blade</a:t>
            </a:r>
          </a:p>
        </p:txBody>
      </p:sp>
      <p:sp>
        <p:nvSpPr>
          <p:cNvPr id="8" name="Title 7">
            <a:extLst>
              <a:ext uri="{FF2B5EF4-FFF2-40B4-BE49-F238E27FC236}">
                <a16:creationId xmlns:a16="http://schemas.microsoft.com/office/drawing/2014/main" id="{85F4C553-D0E9-3AA9-06F8-CFEBB54B6F26}"/>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1361AC12-81E8-5916-318E-2B3B1D35A5D8}"/>
              </a:ext>
            </a:extLst>
          </p:cNvPr>
          <p:cNvGraphicFramePr>
            <a:graphicFrameLocks/>
          </p:cNvGraphicFramePr>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A283B0AA-2718-96AA-9B26-220932246736}"/>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72264DCD-A341-D44D-7855-3878671E6625}"/>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A4FBD5AE-AF4D-ED0B-C59B-7C9435499510}"/>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15" name="TextBox 14">
            <a:extLst>
              <a:ext uri="{FF2B5EF4-FFF2-40B4-BE49-F238E27FC236}">
                <a16:creationId xmlns:a16="http://schemas.microsoft.com/office/drawing/2014/main" id="{F163573E-7C69-D3EA-3970-0A2B2A14740E}"/>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5229894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628767-941E-F7CE-B65A-1FE872473C8C}"/>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77388F25-2E3E-B63E-4C29-8C7DA9662F3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F14E638-5A6E-07EF-E40B-2ED80C0074A7}"/>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9/10/2025</a:t>
            </a:fld>
            <a:endParaRPr lang="en-US" noProof="0" dirty="0"/>
          </a:p>
        </p:txBody>
      </p:sp>
      <p:sp>
        <p:nvSpPr>
          <p:cNvPr id="11" name="Footer Placeholder 10">
            <a:extLst>
              <a:ext uri="{FF2B5EF4-FFF2-40B4-BE49-F238E27FC236}">
                <a16:creationId xmlns:a16="http://schemas.microsoft.com/office/drawing/2014/main" id="{734B6634-FC59-7A3D-A6AD-160A58963C53}"/>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3B6E8E48-E06E-5292-B828-C6B51E93D2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dirty="0"/>
          </a:p>
        </p:txBody>
      </p:sp>
      <p:sp>
        <p:nvSpPr>
          <p:cNvPr id="8" name="Text Placeholder 7">
            <a:extLst>
              <a:ext uri="{FF2B5EF4-FFF2-40B4-BE49-F238E27FC236}">
                <a16:creationId xmlns:a16="http://schemas.microsoft.com/office/drawing/2014/main" id="{B225E289-9455-3965-EE41-1F39F416AF2A}"/>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96706FDF-C06F-28ED-CF96-F33970E55814}"/>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Costco | Schick Blade</a:t>
            </a:r>
          </a:p>
        </p:txBody>
      </p:sp>
      <p:sp>
        <p:nvSpPr>
          <p:cNvPr id="3" name="Title 2">
            <a:extLst>
              <a:ext uri="{FF2B5EF4-FFF2-40B4-BE49-F238E27FC236}">
                <a16:creationId xmlns:a16="http://schemas.microsoft.com/office/drawing/2014/main" id="{D9E93DFC-7513-3955-AFE2-0E13CBDEB229}"/>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56B3EF40-9C35-94E6-5E46-F0E98448B252}"/>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89A002F9-7970-EB50-F4E7-577DDF30B31B}"/>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064C407B-5C54-E5C3-1250-8D471C6C369C}"/>
              </a:ext>
            </a:extLst>
          </p:cNvPr>
          <p:cNvGraphicFramePr>
            <a:graphicFrameLocks/>
          </p:cNvGraphicFramePr>
          <p:nvPr/>
        </p:nvGraphicFramePr>
        <p:xfrm>
          <a:off x="174228" y="3979225"/>
          <a:ext cx="8464425" cy="105918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3507339">
                  <a:extLst>
                    <a:ext uri="{9D8B030D-6E8A-4147-A177-3AD203B41FA5}">
                      <a16:colId xmlns:a16="http://schemas.microsoft.com/office/drawing/2014/main" val="4292788590"/>
                    </a:ext>
                  </a:extLst>
                </a:gridCol>
                <a:gridCol w="3507339">
                  <a:extLst>
                    <a:ext uri="{9D8B030D-6E8A-4147-A177-3AD203B41FA5}">
                      <a16:colId xmlns:a16="http://schemas.microsoft.com/office/drawing/2014/main" val="401539003"/>
                    </a:ext>
                  </a:extLst>
                </a:gridCol>
              </a:tblGrid>
              <a:tr h="320040">
                <a:tc>
                  <a:txBody>
                    <a:bodyPr/>
                    <a:lstStyle/>
                    <a:p>
                      <a:pPr>
                        <a:defRPr>
                          <a:latin typeface="Nexa Bold"/>
                        </a:defRPr>
                      </a:pPr>
                      <a:r>
                        <a:rPr sz="800" b="0"/>
                        <a:t>Cannibalization within </a:t>
                      </a:r>
                    </a:p>
                    <a:p>
                      <a:pPr>
                        <a:defRPr>
                          <a:latin typeface="Nexa Bold"/>
                        </a:defRPr>
                      </a:pPr>
                      <a:r>
                        <a:rPr sz="800" b="0"/>
                        <a:t>Edgewell Personal Care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Personal Care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Personal Care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684141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D90112-CF62-AA36-72C0-DBF168F7CCD3}"/>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63A305D-14BB-9F85-12C9-DD673AF57EA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A8296456-DE2C-A46B-E9A4-058D621D644E}"/>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9/10/2025</a:t>
            </a:fld>
            <a:endParaRPr lang="en-US" noProof="0" dirty="0"/>
          </a:p>
        </p:txBody>
      </p:sp>
      <p:sp>
        <p:nvSpPr>
          <p:cNvPr id="10" name="Footer Placeholder 9">
            <a:extLst>
              <a:ext uri="{FF2B5EF4-FFF2-40B4-BE49-F238E27FC236}">
                <a16:creationId xmlns:a16="http://schemas.microsoft.com/office/drawing/2014/main" id="{BAF87F24-5A71-373D-3DF9-1F71F9D01DAD}"/>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F6F04D44-2219-6E93-30E2-E97217CD15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8" name="Text Placeholder 7">
            <a:extLst>
              <a:ext uri="{FF2B5EF4-FFF2-40B4-BE49-F238E27FC236}">
                <a16:creationId xmlns:a16="http://schemas.microsoft.com/office/drawing/2014/main" id="{75357A37-2AED-5E69-BC2F-AE0021B16D7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5DBF971C-E038-1057-3DC8-E503B8B47591}"/>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Costco | Schick Blade</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674671EA-4D64-8FEA-03FC-4496F2B49F9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95F2CF16-9C08-88FE-53ED-D6E32494A983}"/>
              </a:ext>
            </a:extLst>
          </p:cNvPr>
          <p:cNvGraphicFramePr>
            <a:graphicFrameLocks noGrp="1"/>
          </p:cNvGraphicFramePr>
          <p:nvPr>
            <p:ph idx="4294967295"/>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5 Blade Sensitive Refills 16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3 Ultra Sensitive Refills 20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algn="l">
                        <a:defRPr>
                          <a:latin typeface="Nexa Book"/>
                        </a:defRPr>
                      </a:pPr>
                      <a:r>
                        <a:rPr sz="700" b="0"/>
                        <a:t>Gillette Proglide Plus Refills 16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algn="l">
                        <a:defRPr>
                          <a:latin typeface="Nexa Book"/>
                        </a:defRPr>
                      </a:pPr>
                      <a:r>
                        <a:rPr sz="700" b="0"/>
                        <a:t>Gillette Mach 3 Advanced Refills 20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algn="l">
                        <a:defRPr>
                          <a:latin typeface="Nexa Book"/>
                        </a:defRPr>
                      </a:pPr>
                      <a:r>
                        <a:rPr sz="700" b="0"/>
                        <a:t>Schick Xtreme 3 Sensitive Disposable Razors 2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algn="l">
                        <a:defRPr>
                          <a:latin typeface="Nexa Book"/>
                        </a:defRPr>
                      </a:pPr>
                      <a:r>
                        <a:rPr sz="700" b="0"/>
                        <a:t>Schick Xtreme 3 Sensitive Disposable Razors 3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algn="l">
                        <a:defRPr>
                          <a:latin typeface="Nexa Book"/>
                        </a:defRPr>
                      </a:pPr>
                      <a:r>
                        <a:rPr sz="700" b="0"/>
                        <a:t>Schick Xtreme 5 Disposable Razors 9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algn="l">
                        <a:defRPr>
                          <a:latin typeface="Nexa Book"/>
                        </a:defRPr>
                      </a:pPr>
                      <a:r>
                        <a:rPr sz="700" b="0"/>
                        <a:t>Kirkland Disposable Razors 20 pack </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algn="l">
                        <a:defRPr>
                          <a:latin typeface="Nexa Book"/>
                        </a:defRPr>
                      </a:pPr>
                      <a:r>
                        <a:rPr sz="700" b="0"/>
                        <a:t>Schick Xtreme 2 Sensitive Disposable Razors 4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algn="l">
                        <a:defRPr>
                          <a:latin typeface="Nexa Book"/>
                        </a:defRPr>
                      </a:pPr>
                      <a:r>
                        <a:rPr sz="700" b="0"/>
                        <a:t>Schick Xtreme 2 Sensitive Disposable Razors 6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algn="l">
                        <a:defRPr>
                          <a:latin typeface="Nexa Book"/>
                        </a:defRPr>
                      </a:pPr>
                      <a:r>
                        <a:rPr sz="700" b="0"/>
                        <a:t>Gillette Sensor 2 Plus Disposable Razors 52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algn="l">
                        <a:defRPr>
                          <a:latin typeface="Nexa Book"/>
                        </a:defRPr>
                      </a:pPr>
                      <a:r>
                        <a:rPr sz="700" b="0"/>
                        <a:t>Gillette Sensor 3 Sensitive Disposable Razors 2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algn="l">
                        <a:defRPr>
                          <a:latin typeface="Nexa Book"/>
                        </a:defRPr>
                      </a:pPr>
                      <a:r>
                        <a:rPr sz="700" b="0"/>
                        <a:t>Bic Flex 5 Disposable Razors 9 Pack </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EAA9BA45-E5CD-BB32-B38C-0715697CB23B}"/>
              </a:ext>
            </a:extLst>
          </p:cNvPr>
          <p:cNvGraphicFramePr>
            <a:graphicFrameLocks/>
          </p:cNvGraphicFramePr>
          <p:nvPr/>
        </p:nvGraphicFramePr>
        <p:xfrm>
          <a:off x="2991173" y="1569997"/>
          <a:ext cx="190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DFF59561-B834-E1FF-DDAC-C53459741E7D}"/>
              </a:ext>
            </a:extLst>
          </p:cNvPr>
          <p:cNvGraphicFramePr>
            <a:graphicFrameLocks/>
          </p:cNvGraphicFramePr>
          <p:nvPr/>
        </p:nvGraphicFramePr>
        <p:xfrm>
          <a:off x="5188907" y="1569997"/>
          <a:ext cx="1908000" cy="31680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1732387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2220AB-F0B8-4647-A258-AE7A232302FB}"/>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315DAF0-BAB3-573D-E76D-CA9AA17037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622B0FDA-1F30-C7CA-1865-C2031EBE45F5}"/>
              </a:ext>
            </a:extLst>
          </p:cNvPr>
          <p:cNvSpPr>
            <a:spLocks noGrp="1"/>
          </p:cNvSpPr>
          <p:nvPr>
            <p:ph type="body" sz="quarter" idx="18"/>
          </p:nvPr>
        </p:nvSpPr>
        <p:spPr/>
        <p:txBody>
          <a:bodyPr/>
          <a:lstStyle/>
          <a:p>
            <a:r>
              <a:t>Summary | Innovations | Schick Dispo</a:t>
            </a:r>
          </a:p>
        </p:txBody>
      </p:sp>
      <p:sp>
        <p:nvSpPr>
          <p:cNvPr id="2" name="Title 1">
            <a:extLst>
              <a:ext uri="{FF2B5EF4-FFF2-40B4-BE49-F238E27FC236}">
                <a16:creationId xmlns:a16="http://schemas.microsoft.com/office/drawing/2014/main" id="{6F860AE8-48A9-B2A8-A628-1129E42FC76F}"/>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C1EB565A-68E4-1C6A-BD3B-9EDB23780187}"/>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9/10/2025</a:t>
            </a:fld>
            <a:endParaRPr lang="en-US"/>
          </a:p>
        </p:txBody>
      </p:sp>
      <p:sp>
        <p:nvSpPr>
          <p:cNvPr id="19" name="Slide Number Placeholder 18">
            <a:extLst>
              <a:ext uri="{FF2B5EF4-FFF2-40B4-BE49-F238E27FC236}">
                <a16:creationId xmlns:a16="http://schemas.microsoft.com/office/drawing/2014/main" id="{1C02A0C8-B474-056F-4666-0BF93D61DFF3}"/>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3</a:t>
            </a:fld>
            <a:endParaRPr lang="en-US"/>
          </a:p>
        </p:txBody>
      </p:sp>
      <p:graphicFrame>
        <p:nvGraphicFramePr>
          <p:cNvPr id="7" name="Table 6">
            <a:extLst>
              <a:ext uri="{FF2B5EF4-FFF2-40B4-BE49-F238E27FC236}">
                <a16:creationId xmlns:a16="http://schemas.microsoft.com/office/drawing/2014/main" id="{B4267168-5EC8-3E66-4169-F50DE24D616F}"/>
              </a:ext>
            </a:extLst>
          </p:cNvPr>
          <p:cNvGraphicFramePr>
            <a:graphicFrameLocks noGrp="1"/>
          </p:cNvGraphicFramePr>
          <p:nvPr/>
        </p:nvGraphicFramePr>
        <p:xfrm>
          <a:off x="503238" y="1049315"/>
          <a:ext cx="8243580" cy="373052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696912">
                <a:tc>
                  <a:txBody>
                    <a:bodyPr/>
                    <a:lstStyle/>
                    <a:p>
                      <a:pPr algn="ctr">
                        <a:defRPr sz="800">
                          <a:latin typeface="Nexa Book"/>
                        </a:defRPr>
                      </a:pPr>
                      <a:r>
                        <a:rPr sz="700"/>
                        <a:t>Schick Xtreme 3 Sensitive Disposable Razors 20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9.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696912">
                <a:tc>
                  <a:txBody>
                    <a:bodyPr/>
                    <a:lstStyle/>
                    <a:p>
                      <a:pPr algn="ctr">
                        <a:defRPr sz="800">
                          <a:latin typeface="Nexa Book"/>
                        </a:defRPr>
                      </a:pPr>
                      <a:r>
                        <a:rPr sz="700"/>
                        <a:t>Schick Xtreme 3 Sensitive Disposable Razors 30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6.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696912">
                <a:tc>
                  <a:txBody>
                    <a:bodyPr/>
                    <a:lstStyle/>
                    <a:p>
                      <a:pPr algn="ctr">
                        <a:defRPr sz="800">
                          <a:latin typeface="Nexa Book"/>
                        </a:defRPr>
                      </a:pPr>
                      <a:r>
                        <a:rPr sz="700"/>
                        <a:t>Schick Xtreme 2 Sensitive Disposable Razors 48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72.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696912">
                <a:tc>
                  <a:txBody>
                    <a:bodyPr/>
                    <a:lstStyle/>
                    <a:p>
                      <a:pPr algn="ctr">
                        <a:defRPr sz="800">
                          <a:latin typeface="Nexa Book"/>
                        </a:defRPr>
                      </a:pPr>
                      <a:r>
                        <a:rPr sz="700"/>
                        <a:t>Schick Xtreme 2 Sensitive Disposable Razors 60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72.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696912">
                <a:tc>
                  <a:txBody>
                    <a:bodyPr/>
                    <a:lstStyle/>
                    <a:p>
                      <a:pPr algn="ctr">
                        <a:defRPr sz="800">
                          <a:latin typeface="Nexa Book"/>
                        </a:defRPr>
                      </a:pPr>
                      <a:r>
                        <a:rPr sz="700"/>
                        <a:t>Schick Xtreme 5 Disposable Razors 9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63.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783270A7-27A1-8E3A-E085-8929D9DC4D9C}"/>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28461959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72BB74-F87E-E112-4B3A-F0281C4403D8}"/>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C88E9E5-9891-BC50-5917-87C398FBD4E2}"/>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5EE7F90C-9F97-5594-A911-ECEA7C730AEC}"/>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7388DDF9-3239-49C6-CBFF-A72394A6F76B}"/>
              </a:ext>
            </a:extLst>
          </p:cNvPr>
          <p:cNvGraphicFramePr>
            <a:graphicFrameLocks/>
          </p:cNvGraphicFramePr>
          <p:nvPr/>
        </p:nvGraphicFramePr>
        <p:xfrm>
          <a:off x="2613976" y="1216203"/>
          <a:ext cx="5670000" cy="648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24875F66-3301-B158-09B5-22541E4DDB59}"/>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9/10/2025</a:t>
            </a:fld>
            <a:endParaRPr lang="en-US" noProof="0"/>
          </a:p>
        </p:txBody>
      </p:sp>
      <p:sp>
        <p:nvSpPr>
          <p:cNvPr id="4" name="Footer Placeholder 3">
            <a:extLst>
              <a:ext uri="{FF2B5EF4-FFF2-40B4-BE49-F238E27FC236}">
                <a16:creationId xmlns:a16="http://schemas.microsoft.com/office/drawing/2014/main" id="{E93D2153-DAA8-F970-AC09-CAF089532442}"/>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BD8F0C82-F41A-F239-5AB0-9C33B82413D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10" name="Content Placeholder 9">
            <a:extLst>
              <a:ext uri="{FF2B5EF4-FFF2-40B4-BE49-F238E27FC236}">
                <a16:creationId xmlns:a16="http://schemas.microsoft.com/office/drawing/2014/main" id="{695078ED-40CA-99DD-2F8C-CA2EE468C4F4}"/>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D8A76BD3-185F-7ACB-0220-740363AF8439}"/>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Costco | Schick Dispo</a:t>
            </a:r>
          </a:p>
        </p:txBody>
      </p:sp>
      <p:sp>
        <p:nvSpPr>
          <p:cNvPr id="8" name="Title 7">
            <a:extLst>
              <a:ext uri="{FF2B5EF4-FFF2-40B4-BE49-F238E27FC236}">
                <a16:creationId xmlns:a16="http://schemas.microsoft.com/office/drawing/2014/main" id="{7B354AFE-62CB-B1F9-DEB6-436BF88E3ACB}"/>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F77BC8A7-22B5-1204-CBC4-207FA85F4764}"/>
              </a:ext>
            </a:extLst>
          </p:cNvPr>
          <p:cNvGraphicFramePr>
            <a:graphicFrameLocks/>
          </p:cNvGraphicFramePr>
          <p:nvPr/>
        </p:nvGraphicFramePr>
        <p:xfrm>
          <a:off x="2613976" y="3982633"/>
          <a:ext cx="5670000" cy="64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79FF4B0E-E394-2C7B-5343-392313B66585}"/>
              </a:ext>
            </a:extLst>
          </p:cNvPr>
          <p:cNvGraphicFramePr>
            <a:graphicFrameLocks/>
          </p:cNvGraphicFramePr>
          <p:nvPr/>
        </p:nvGraphicFramePr>
        <p:xfrm>
          <a:off x="2613976" y="1907811"/>
          <a:ext cx="5670000" cy="64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A5542DF7-D040-2B34-3B04-EBD6790FEA9F}"/>
              </a:ext>
            </a:extLst>
          </p:cNvPr>
          <p:cNvGraphicFramePr>
            <a:graphicFrameLocks/>
          </p:cNvGraphicFramePr>
          <p:nvPr/>
        </p:nvGraphicFramePr>
        <p:xfrm>
          <a:off x="2613976" y="2599419"/>
          <a:ext cx="5670000" cy="64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292BE062-FBE8-EBF7-9D97-F59970743B86}"/>
              </a:ext>
            </a:extLst>
          </p:cNvPr>
          <p:cNvGraphicFramePr>
            <a:graphicFrameLocks/>
          </p:cNvGraphicFramePr>
          <p:nvPr/>
        </p:nvGraphicFramePr>
        <p:xfrm>
          <a:off x="2613976" y="3291027"/>
          <a:ext cx="5670000" cy="648000"/>
        </p:xfrm>
        <a:graphic>
          <a:graphicData uri="http://schemas.openxmlformats.org/drawingml/2006/chart">
            <c:chart xmlns:c="http://schemas.openxmlformats.org/drawingml/2006/chart" xmlns:r="http://schemas.openxmlformats.org/officeDocument/2006/relationships" r:id="rId9"/>
          </a:graphicData>
        </a:graphic>
      </p:graphicFrame>
      <p:sp>
        <p:nvSpPr>
          <p:cNvPr id="6" name="TB5">
            <a:extLst>
              <a:ext uri="{FF2B5EF4-FFF2-40B4-BE49-F238E27FC236}">
                <a16:creationId xmlns:a16="http://schemas.microsoft.com/office/drawing/2014/main" id="{09A59848-9EC7-5285-8643-D566E2588AD1}"/>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978BD68B-E04F-95EB-6176-C2A7EB69033C}"/>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BCA2C018-215E-151A-1F03-9AD020E7AB4C}"/>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EED2D14D-DD78-729C-647E-53FF6B578624}"/>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14699648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E809B2-2D10-609D-1F4E-51F4BDB84924}"/>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D1E53CF4-011B-682E-CC5E-9FB99354C0C3}"/>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76B35851-90E4-9FF2-4714-DA0BFB58F6CE}"/>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9/10/2025</a:t>
            </a:fld>
            <a:endParaRPr lang="en-US" noProof="0" dirty="0"/>
          </a:p>
        </p:txBody>
      </p:sp>
      <p:sp>
        <p:nvSpPr>
          <p:cNvPr id="11" name="Footer Placeholder 10">
            <a:extLst>
              <a:ext uri="{FF2B5EF4-FFF2-40B4-BE49-F238E27FC236}">
                <a16:creationId xmlns:a16="http://schemas.microsoft.com/office/drawing/2014/main" id="{B5F5635F-FB7D-0D8F-32E2-663967D696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2A585FE0-6D71-040A-1760-259704E86E5C}"/>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dirty="0"/>
          </a:p>
        </p:txBody>
      </p:sp>
      <p:sp>
        <p:nvSpPr>
          <p:cNvPr id="8" name="Text Placeholder 7">
            <a:extLst>
              <a:ext uri="{FF2B5EF4-FFF2-40B4-BE49-F238E27FC236}">
                <a16:creationId xmlns:a16="http://schemas.microsoft.com/office/drawing/2014/main" id="{03E24A7C-98AF-0CD1-810A-7AB2BBFE969E}"/>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175BBB1A-CE87-87CA-1F7E-E0AF2D6B4E24}"/>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Costco | Schick Dispo</a:t>
            </a:r>
          </a:p>
        </p:txBody>
      </p:sp>
      <p:sp>
        <p:nvSpPr>
          <p:cNvPr id="3" name="Title 2">
            <a:extLst>
              <a:ext uri="{FF2B5EF4-FFF2-40B4-BE49-F238E27FC236}">
                <a16:creationId xmlns:a16="http://schemas.microsoft.com/office/drawing/2014/main" id="{06A21325-D4A5-2A4B-A599-4A23E7E3BF61}"/>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627C92FE-2333-B1C9-CDC0-74421A1775A1}"/>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A2451C01-9C8A-2944-EE41-944A81E4D952}"/>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CAE37081-4141-67DB-4FE4-AEA3FC52D3F3}"/>
              </a:ext>
            </a:extLst>
          </p:cNvPr>
          <p:cNvGraphicFramePr>
            <a:graphicFrameLocks/>
          </p:cNvGraphicFramePr>
          <p:nvPr/>
        </p:nvGraphicFramePr>
        <p:xfrm>
          <a:off x="174228" y="3979225"/>
          <a:ext cx="8464427" cy="105918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402936">
                  <a:extLst>
                    <a:ext uri="{9D8B030D-6E8A-4147-A177-3AD203B41FA5}">
                      <a16:colId xmlns:a16="http://schemas.microsoft.com/office/drawing/2014/main" val="4292788590"/>
                    </a:ext>
                  </a:extLst>
                </a:gridCol>
                <a:gridCol w="1402936">
                  <a:extLst>
                    <a:ext uri="{9D8B030D-6E8A-4147-A177-3AD203B41FA5}">
                      <a16:colId xmlns:a16="http://schemas.microsoft.com/office/drawing/2014/main" val="401539003"/>
                    </a:ext>
                  </a:extLst>
                </a:gridCol>
                <a:gridCol w="1402936">
                  <a:extLst>
                    <a:ext uri="{9D8B030D-6E8A-4147-A177-3AD203B41FA5}">
                      <a16:colId xmlns:a16="http://schemas.microsoft.com/office/drawing/2014/main" val="138763722"/>
                    </a:ext>
                  </a:extLst>
                </a:gridCol>
                <a:gridCol w="1402936">
                  <a:extLst>
                    <a:ext uri="{9D8B030D-6E8A-4147-A177-3AD203B41FA5}">
                      <a16:colId xmlns:a16="http://schemas.microsoft.com/office/drawing/2014/main" val="2633844746"/>
                    </a:ext>
                  </a:extLst>
                </a:gridCol>
                <a:gridCol w="1402936">
                  <a:extLst>
                    <a:ext uri="{9D8B030D-6E8A-4147-A177-3AD203B41FA5}">
                      <a16:colId xmlns:a16="http://schemas.microsoft.com/office/drawing/2014/main" val="2595269352"/>
                    </a:ext>
                  </a:extLst>
                </a:gridCol>
              </a:tblGrid>
              <a:tr h="320040">
                <a:tc>
                  <a:txBody>
                    <a:bodyPr/>
                    <a:lstStyle/>
                    <a:p>
                      <a:pPr>
                        <a:defRPr>
                          <a:latin typeface="Nexa Bold"/>
                        </a:defRPr>
                      </a:pPr>
                      <a:r>
                        <a:rPr sz="800" b="0"/>
                        <a:t>Cannibalization within </a:t>
                      </a:r>
                    </a:p>
                    <a:p>
                      <a:pPr>
                        <a:defRPr>
                          <a:latin typeface="Nexa Bold"/>
                        </a:defRPr>
                      </a:pPr>
                      <a:r>
                        <a:rPr sz="800" b="0"/>
                        <a:t>Edgewell Personal Care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Personal Care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Personal Care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1710191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3660CE-65A6-7601-4F47-C2F8BF6CF8A2}"/>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0FD7DCB-0D93-A726-0681-1717B63930A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533B0C29-CE52-EE2C-EA0D-4D64A3FA800A}"/>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EAB4F553-B309-AA30-DBEE-7813D72F7534}"/>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9/10/2025</a:t>
            </a:fld>
            <a:endParaRPr lang="en-US" noProof="0" dirty="0"/>
          </a:p>
        </p:txBody>
      </p:sp>
      <p:sp>
        <p:nvSpPr>
          <p:cNvPr id="10" name="Footer Placeholder 9">
            <a:extLst>
              <a:ext uri="{FF2B5EF4-FFF2-40B4-BE49-F238E27FC236}">
                <a16:creationId xmlns:a16="http://schemas.microsoft.com/office/drawing/2014/main" id="{86917420-CC8A-7CCD-60CF-1BA88D5B7F12}"/>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DBF6849-14F6-B98F-A9CB-26486300998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8" name="Text Placeholder 7">
            <a:extLst>
              <a:ext uri="{FF2B5EF4-FFF2-40B4-BE49-F238E27FC236}">
                <a16:creationId xmlns:a16="http://schemas.microsoft.com/office/drawing/2014/main" id="{0510C8CF-0DA8-0DBE-228E-009A3EC274C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D0E87D2C-A368-30E2-6EA7-A11F8C952AAE}"/>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Costco | Schick Dispo</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13CA3C29-8709-8984-9173-1BCCA2AE5641}"/>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9A71E29A-8719-F076-86C3-938E7227BFD4}"/>
              </a:ext>
            </a:extLst>
          </p:cNvPr>
          <p:cNvGraphicFramePr>
            <a:graphicFrameLocks noGrp="1"/>
          </p:cNvGraphicFramePr>
          <p:nvPr>
            <p:ph idx="4294967295"/>
          </p:nvPr>
        </p:nvGraphicFramePr>
        <p:xfrm>
          <a:off x="513149" y="1127125"/>
          <a:ext cx="8103586" cy="3627480"/>
        </p:xfrm>
        <a:graphic>
          <a:graphicData uri="http://schemas.openxmlformats.org/drawingml/2006/table">
            <a:tbl>
              <a:tblPr firstRow="1" bandRow="1">
                <a:tableStyleId>{5C22544A-7EE6-4342-B048-85BDC9FD1C3A}</a:tableStyleId>
              </a:tblPr>
              <a:tblGrid>
                <a:gridCol w="1367176">
                  <a:extLst>
                    <a:ext uri="{9D8B030D-6E8A-4147-A177-3AD203B41FA5}">
                      <a16:colId xmlns:a16="http://schemas.microsoft.com/office/drawing/2014/main" val="721526330"/>
                    </a:ext>
                  </a:extLst>
                </a:gridCol>
                <a:gridCol w="1347282">
                  <a:extLst>
                    <a:ext uri="{9D8B030D-6E8A-4147-A177-3AD203B41FA5}">
                      <a16:colId xmlns:a16="http://schemas.microsoft.com/office/drawing/2014/main" val="1048155142"/>
                    </a:ext>
                  </a:extLst>
                </a:gridCol>
                <a:gridCol w="1347282">
                  <a:extLst>
                    <a:ext uri="{9D8B030D-6E8A-4147-A177-3AD203B41FA5}">
                      <a16:colId xmlns:a16="http://schemas.microsoft.com/office/drawing/2014/main" val="2226225783"/>
                    </a:ext>
                  </a:extLst>
                </a:gridCol>
                <a:gridCol w="1347282">
                  <a:extLst>
                    <a:ext uri="{9D8B030D-6E8A-4147-A177-3AD203B41FA5}">
                      <a16:colId xmlns:a16="http://schemas.microsoft.com/office/drawing/2014/main" val="2541288816"/>
                    </a:ext>
                  </a:extLst>
                </a:gridCol>
                <a:gridCol w="1347282">
                  <a:extLst>
                    <a:ext uri="{9D8B030D-6E8A-4147-A177-3AD203B41FA5}">
                      <a16:colId xmlns:a16="http://schemas.microsoft.com/office/drawing/2014/main" val="1505432836"/>
                    </a:ext>
                  </a:extLst>
                </a:gridCol>
                <a:gridCol w="1347282">
                  <a:extLst>
                    <a:ext uri="{9D8B030D-6E8A-4147-A177-3AD203B41FA5}">
                      <a16:colId xmlns:a16="http://schemas.microsoft.com/office/drawing/2014/main" val="4255120039"/>
                    </a:ext>
                  </a:extLst>
                </a:gridCol>
              </a:tblGrid>
              <a:tr h="52614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Xtreme 3 Sensitive Disposable Razors 20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Xtreme 3 Sensitive Disposable Razors 30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Xtreme 2 Sensitive Disposable Razors 48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Xtreme 2 Sensitive Disposable Razors 60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Xtreme 5 Disposable Razors 9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1940">
                <a:tc>
                  <a:txBody>
                    <a:bodyPr/>
                    <a:lstStyle/>
                    <a:p>
                      <a:pPr algn="l">
                        <a:defRPr>
                          <a:latin typeface="Nexa Book"/>
                        </a:defRPr>
                      </a:pPr>
                      <a:r>
                        <a:rPr sz="700" b="0"/>
                        <a:t>Gillette Custom Plus 3 Sensitive Disposable Razors 30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1940">
                <a:tc>
                  <a:txBody>
                    <a:bodyPr/>
                    <a:lstStyle/>
                    <a:p>
                      <a:pPr algn="l">
                        <a:defRPr>
                          <a:latin typeface="Nexa Book"/>
                        </a:defRPr>
                      </a:pPr>
                      <a:r>
                        <a:rPr sz="700" b="0"/>
                        <a:t>None Razors</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1940">
                <a:tc>
                  <a:txBody>
                    <a:bodyPr/>
                    <a:lstStyle/>
                    <a:p>
                      <a:pPr algn="l">
                        <a:defRPr>
                          <a:latin typeface="Nexa Book"/>
                        </a:defRPr>
                      </a:pPr>
                      <a:r>
                        <a:rPr sz="700" b="0"/>
                        <a:t>Harry's Razor Set Chrome Edition 1 Handle + 13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1940">
                <a:tc>
                  <a:txBody>
                    <a:bodyPr/>
                    <a:lstStyle/>
                    <a:p>
                      <a:pPr algn="l">
                        <a:defRPr>
                          <a:latin typeface="Nexa Book"/>
                        </a:defRPr>
                      </a:pPr>
                      <a:r>
                        <a:rPr sz="700" b="0"/>
                        <a:t>Gillette Proglide Plus Refills 16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1940">
                <a:tc>
                  <a:txBody>
                    <a:bodyPr/>
                    <a:lstStyle/>
                    <a:p>
                      <a:pPr algn="l">
                        <a:defRPr>
                          <a:latin typeface="Nexa Book"/>
                        </a:defRPr>
                      </a:pPr>
                      <a:r>
                        <a:rPr sz="700" b="0"/>
                        <a:t>Schick Hydro 3 Ultra Sensitive 1 Handle + 20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1940">
                <a:tc>
                  <a:txBody>
                    <a:bodyPr/>
                    <a:lstStyle/>
                    <a:p>
                      <a:pPr algn="l">
                        <a:defRPr>
                          <a:latin typeface="Nexa Book"/>
                        </a:defRPr>
                      </a:pPr>
                      <a:r>
                        <a:rPr sz="700" b="0"/>
                        <a:t>Kirkland Disposable Razors 20 pack </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1940">
                <a:tc>
                  <a:txBody>
                    <a:bodyPr/>
                    <a:lstStyle/>
                    <a:p>
                      <a:pPr algn="l">
                        <a:defRPr>
                          <a:latin typeface="Nexa Book"/>
                        </a:defRPr>
                      </a:pPr>
                      <a:r>
                        <a:rPr sz="700" b="0"/>
                        <a:t>Kirkland Disposable Razors 30 pack </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1940">
                <a:tc>
                  <a:txBody>
                    <a:bodyPr/>
                    <a:lstStyle/>
                    <a:p>
                      <a:pPr algn="l">
                        <a:defRPr>
                          <a:latin typeface="Nexa Book"/>
                        </a:defRPr>
                      </a:pPr>
                      <a:r>
                        <a:rPr sz="700" b="0"/>
                        <a:t>Schick Hydro 5 Sensitive 1 Handle + 16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1940">
                <a:tc>
                  <a:txBody>
                    <a:bodyPr/>
                    <a:lstStyle/>
                    <a:p>
                      <a:pPr algn="l">
                        <a:defRPr>
                          <a:latin typeface="Nexa Book"/>
                        </a:defRPr>
                      </a:pPr>
                      <a:r>
                        <a:rPr sz="700" b="0"/>
                        <a:t>Schick Quattro Titanium 4 Blade Systems 1 Handle + 13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1940">
                <a:tc>
                  <a:txBody>
                    <a:bodyPr/>
                    <a:lstStyle/>
                    <a:p>
                      <a:pPr algn="l">
                        <a:defRPr>
                          <a:latin typeface="Nexa Book"/>
                        </a:defRPr>
                      </a:pPr>
                      <a:r>
                        <a:rPr sz="700" b="0"/>
                        <a:t>Schick Hydro 5 Sensitive 1 Handle + 20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1940">
                <a:tc>
                  <a:txBody>
                    <a:bodyPr/>
                    <a:lstStyle/>
                    <a:p>
                      <a:pPr algn="l">
                        <a:defRPr>
                          <a:latin typeface="Nexa Book"/>
                        </a:defRPr>
                      </a:pPr>
                      <a:r>
                        <a:rPr sz="700" b="0"/>
                        <a:t>Kirkland 5 blades 1 Handle + 13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8BB755FA-5FD5-9AB0-30F1-E77B38FE3F8D}"/>
              </a:ext>
            </a:extLst>
          </p:cNvPr>
          <p:cNvGraphicFramePr>
            <a:graphicFrameLocks/>
          </p:cNvGraphicFramePr>
          <p:nvPr/>
        </p:nvGraphicFramePr>
        <p:xfrm>
          <a:off x="1902137" y="1650206"/>
          <a:ext cx="1044000" cy="3096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A9CAA3B5-2C5F-2EEF-E99A-C753875B62DA}"/>
              </a:ext>
            </a:extLst>
          </p:cNvPr>
          <p:cNvGraphicFramePr>
            <a:graphicFrameLocks/>
          </p:cNvGraphicFramePr>
          <p:nvPr/>
        </p:nvGraphicFramePr>
        <p:xfrm>
          <a:off x="3252376" y="1650206"/>
          <a:ext cx="1044000" cy="3096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BA0D5F82-104C-4146-C3CB-35D711417FA7}"/>
              </a:ext>
            </a:extLst>
          </p:cNvPr>
          <p:cNvGraphicFramePr>
            <a:graphicFrameLocks/>
          </p:cNvGraphicFramePr>
          <p:nvPr/>
        </p:nvGraphicFramePr>
        <p:xfrm>
          <a:off x="4602615" y="1650206"/>
          <a:ext cx="1044000" cy="3096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C6663559-0BE2-3493-8358-2D5B76C94F1E}"/>
              </a:ext>
            </a:extLst>
          </p:cNvPr>
          <p:cNvGraphicFramePr>
            <a:graphicFrameLocks/>
          </p:cNvGraphicFramePr>
          <p:nvPr/>
        </p:nvGraphicFramePr>
        <p:xfrm>
          <a:off x="5952854" y="1650206"/>
          <a:ext cx="1044000" cy="3096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 name="C3">
            <a:extLst>
              <a:ext uri="{FF2B5EF4-FFF2-40B4-BE49-F238E27FC236}">
                <a16:creationId xmlns:a16="http://schemas.microsoft.com/office/drawing/2014/main" id="{BCCFB321-EF50-795B-93C7-EED46DD0F2B3}"/>
              </a:ext>
            </a:extLst>
          </p:cNvPr>
          <p:cNvGraphicFramePr>
            <a:graphicFrameLocks/>
          </p:cNvGraphicFramePr>
          <p:nvPr/>
        </p:nvGraphicFramePr>
        <p:xfrm>
          <a:off x="7303093" y="1650206"/>
          <a:ext cx="1044000" cy="30960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046329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4DCC15-6AB0-4277-0821-70F00A86DF1A}"/>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C1D8A5D7-DFCF-569F-1076-50AA08CFFE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12DA77BB-4D34-0EFA-7303-2E4C4675F46A}"/>
              </a:ext>
            </a:extLst>
          </p:cNvPr>
          <p:cNvSpPr>
            <a:spLocks noGrp="1"/>
          </p:cNvSpPr>
          <p:nvPr>
            <p:ph type="body" sz="quarter" idx="18"/>
          </p:nvPr>
        </p:nvSpPr>
        <p:spPr/>
        <p:txBody>
          <a:bodyPr/>
          <a:lstStyle/>
          <a:p>
            <a:r>
              <a:t>Summary | Innovations | Schick Razor</a:t>
            </a:r>
          </a:p>
        </p:txBody>
      </p:sp>
      <p:sp>
        <p:nvSpPr>
          <p:cNvPr id="2" name="Title 1">
            <a:extLst>
              <a:ext uri="{FF2B5EF4-FFF2-40B4-BE49-F238E27FC236}">
                <a16:creationId xmlns:a16="http://schemas.microsoft.com/office/drawing/2014/main" id="{05C49DC9-8655-9513-C05C-70E498463AAA}"/>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DCB7CE47-A337-7796-EA44-F61B367F4670}"/>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9/10/2025</a:t>
            </a:fld>
            <a:endParaRPr lang="en-US"/>
          </a:p>
        </p:txBody>
      </p:sp>
      <p:sp>
        <p:nvSpPr>
          <p:cNvPr id="19" name="Slide Number Placeholder 18">
            <a:extLst>
              <a:ext uri="{FF2B5EF4-FFF2-40B4-BE49-F238E27FC236}">
                <a16:creationId xmlns:a16="http://schemas.microsoft.com/office/drawing/2014/main" id="{E346A384-A2CF-2815-8AD2-403D1B58B14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7</a:t>
            </a:fld>
            <a:endParaRPr lang="en-US"/>
          </a:p>
        </p:txBody>
      </p:sp>
      <p:graphicFrame>
        <p:nvGraphicFramePr>
          <p:cNvPr id="7" name="Table 6">
            <a:extLst>
              <a:ext uri="{FF2B5EF4-FFF2-40B4-BE49-F238E27FC236}">
                <a16:creationId xmlns:a16="http://schemas.microsoft.com/office/drawing/2014/main" id="{DD7684A6-7B0F-E6CC-C0AF-F75CC0F8228C}"/>
              </a:ext>
            </a:extLst>
          </p:cNvPr>
          <p:cNvGraphicFramePr>
            <a:graphicFrameLocks noGrp="1"/>
          </p:cNvGraphicFramePr>
          <p:nvPr/>
        </p:nvGraphicFramePr>
        <p:xfrm>
          <a:off x="503238" y="1049315"/>
          <a:ext cx="8243580" cy="373052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871140">
                <a:tc>
                  <a:txBody>
                    <a:bodyPr/>
                    <a:lstStyle/>
                    <a:p>
                      <a:pPr algn="ctr">
                        <a:defRPr sz="800">
                          <a:latin typeface="Nexa Book"/>
                        </a:defRPr>
                      </a:pPr>
                      <a:r>
                        <a:rPr sz="700"/>
                        <a:t>Schick Hydro 3 Ultra Sensitive 1 Handle + 20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7.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871140">
                <a:tc>
                  <a:txBody>
                    <a:bodyPr/>
                    <a:lstStyle/>
                    <a:p>
                      <a:pPr algn="ctr">
                        <a:defRPr sz="800">
                          <a:latin typeface="Nexa Book"/>
                        </a:defRPr>
                      </a:pPr>
                      <a:r>
                        <a:rPr sz="700"/>
                        <a:t>Schick Hydro 5 Sensitive 1 Handle + 16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6.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871140">
                <a:tc>
                  <a:txBody>
                    <a:bodyPr/>
                    <a:lstStyle/>
                    <a:p>
                      <a:pPr algn="ctr">
                        <a:defRPr sz="800">
                          <a:latin typeface="Nexa Book"/>
                        </a:defRPr>
                      </a:pPr>
                      <a:r>
                        <a:rPr sz="700"/>
                        <a:t>Schick Hydro 5 Sensitive 1 Handle + 20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7.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871140">
                <a:tc>
                  <a:txBody>
                    <a:bodyPr/>
                    <a:lstStyle/>
                    <a:p>
                      <a:pPr algn="ctr">
                        <a:defRPr sz="800">
                          <a:latin typeface="Nexa Book"/>
                        </a:defRPr>
                      </a:pPr>
                      <a:r>
                        <a:rPr sz="700"/>
                        <a:t>Schick Quattro Titanium 4 Blade Systems 1 Handle + 13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5.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05238FA9-6069-0580-E126-E03C57DF5D42}"/>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37958819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D52EB0-8228-0F88-F1EA-DCB64519DCA1}"/>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4D23A87-9A34-FAA0-6779-774771E79B91}"/>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5AFC66B-9E40-5019-5A71-5D947FE34A43}"/>
              </a:ext>
            </a:extLst>
          </p:cNvPr>
          <p:cNvGraphicFramePr>
            <a:graphicFrameLocks/>
          </p:cNvGraphicFramePr>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AF77E771-2AD7-6DDF-55AC-9C5AE6DBCC53}"/>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9/10/2025</a:t>
            </a:fld>
            <a:endParaRPr lang="en-US" noProof="0"/>
          </a:p>
        </p:txBody>
      </p:sp>
      <p:sp>
        <p:nvSpPr>
          <p:cNvPr id="4" name="Footer Placeholder 3">
            <a:extLst>
              <a:ext uri="{FF2B5EF4-FFF2-40B4-BE49-F238E27FC236}">
                <a16:creationId xmlns:a16="http://schemas.microsoft.com/office/drawing/2014/main" id="{12D19DAB-0BE2-8B92-5092-E3AD358CE708}"/>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3BEA0739-CE49-E5DC-F927-1F9EA89DF26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10" name="Content Placeholder 9">
            <a:extLst>
              <a:ext uri="{FF2B5EF4-FFF2-40B4-BE49-F238E27FC236}">
                <a16:creationId xmlns:a16="http://schemas.microsoft.com/office/drawing/2014/main" id="{27136140-15AF-C11F-ACBF-073A66A1864F}"/>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E8F88991-DCED-B768-A6CC-B1ACC9F66C02}"/>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Costco | Schick Razor</a:t>
            </a:r>
          </a:p>
        </p:txBody>
      </p:sp>
      <p:sp>
        <p:nvSpPr>
          <p:cNvPr id="8" name="Title 7">
            <a:extLst>
              <a:ext uri="{FF2B5EF4-FFF2-40B4-BE49-F238E27FC236}">
                <a16:creationId xmlns:a16="http://schemas.microsoft.com/office/drawing/2014/main" id="{1DD25658-B5B0-DB55-46F0-BD199094166C}"/>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87017641-AE4A-89DB-B44C-5F5E5DCEFBA8}"/>
              </a:ext>
            </a:extLst>
          </p:cNvPr>
          <p:cNvGraphicFramePr>
            <a:graphicFrameLocks/>
          </p:cNvGraphicFramePr>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73D66C14-DE12-A615-B5AB-E4A2F379A3C9}"/>
              </a:ext>
            </a:extLst>
          </p:cNvPr>
          <p:cNvGraphicFramePr>
            <a:graphicFrameLocks/>
          </p:cNvGraphicFramePr>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260562BD-C52E-CC28-4DD4-9CB317DA7332}"/>
              </a:ext>
            </a:extLst>
          </p:cNvPr>
          <p:cNvGraphicFramePr>
            <a:graphicFrameLocks/>
          </p:cNvGraphicFramePr>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1EC1047C-6E31-9B38-E8BF-638D7A7B6BB0}"/>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FBB01E78-443F-000C-8F76-259F44E536CD}"/>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1F11C0F1-5F6C-CB8E-1B82-315C65848A91}"/>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12E563FA-BFA1-1EA2-6EC1-CA91F5E3898C}"/>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17603258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CFD363-8ADC-35B1-A6DC-8F42107B415A}"/>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869B9BD6-9BBE-C878-C9CB-325C1E61E59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246ECFBB-F09C-D087-CF78-EB97DD87450F}"/>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9/10/2025</a:t>
            </a:fld>
            <a:endParaRPr lang="en-US" noProof="0" dirty="0"/>
          </a:p>
        </p:txBody>
      </p:sp>
      <p:sp>
        <p:nvSpPr>
          <p:cNvPr id="11" name="Footer Placeholder 10">
            <a:extLst>
              <a:ext uri="{FF2B5EF4-FFF2-40B4-BE49-F238E27FC236}">
                <a16:creationId xmlns:a16="http://schemas.microsoft.com/office/drawing/2014/main" id="{A23820D4-A5FE-82F0-229B-302670C4BA3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1C20A225-F60C-BCBD-0F52-8CE977077F7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dirty="0"/>
          </a:p>
        </p:txBody>
      </p:sp>
      <p:sp>
        <p:nvSpPr>
          <p:cNvPr id="8" name="Text Placeholder 7">
            <a:extLst>
              <a:ext uri="{FF2B5EF4-FFF2-40B4-BE49-F238E27FC236}">
                <a16:creationId xmlns:a16="http://schemas.microsoft.com/office/drawing/2014/main" id="{FE3253F9-BB76-416E-8A0E-677829E6CD5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CBC2DE25-21FD-1BF4-30A0-EC982CEDCDA5}"/>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Costco | Schick Razor</a:t>
            </a:r>
          </a:p>
        </p:txBody>
      </p:sp>
      <p:sp>
        <p:nvSpPr>
          <p:cNvPr id="3" name="Title 2">
            <a:extLst>
              <a:ext uri="{FF2B5EF4-FFF2-40B4-BE49-F238E27FC236}">
                <a16:creationId xmlns:a16="http://schemas.microsoft.com/office/drawing/2014/main" id="{D928E733-4AA9-91BA-6339-2DFED7F1DF7A}"/>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D6D83EA6-2BEA-B284-8FB7-2B3402C52724}"/>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87338D45-017A-1FD7-CDAF-4298AC54BC43}"/>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D1D35993-E473-FF12-C9EA-433CB2BE1853}"/>
              </a:ext>
            </a:extLst>
          </p:cNvPr>
          <p:cNvGraphicFramePr>
            <a:graphicFrameLocks/>
          </p:cNvGraphicFramePr>
          <p:nvPr/>
        </p:nvGraphicFramePr>
        <p:xfrm>
          <a:off x="174228" y="3979225"/>
          <a:ext cx="8464427" cy="105918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753670">
                  <a:extLst>
                    <a:ext uri="{9D8B030D-6E8A-4147-A177-3AD203B41FA5}">
                      <a16:colId xmlns:a16="http://schemas.microsoft.com/office/drawing/2014/main" val="4292788590"/>
                    </a:ext>
                  </a:extLst>
                </a:gridCol>
                <a:gridCol w="1753670">
                  <a:extLst>
                    <a:ext uri="{9D8B030D-6E8A-4147-A177-3AD203B41FA5}">
                      <a16:colId xmlns:a16="http://schemas.microsoft.com/office/drawing/2014/main" val="401539003"/>
                    </a:ext>
                  </a:extLst>
                </a:gridCol>
                <a:gridCol w="1753670">
                  <a:extLst>
                    <a:ext uri="{9D8B030D-6E8A-4147-A177-3AD203B41FA5}">
                      <a16:colId xmlns:a16="http://schemas.microsoft.com/office/drawing/2014/main" val="138763722"/>
                    </a:ext>
                  </a:extLst>
                </a:gridCol>
                <a:gridCol w="1753670">
                  <a:extLst>
                    <a:ext uri="{9D8B030D-6E8A-4147-A177-3AD203B41FA5}">
                      <a16:colId xmlns:a16="http://schemas.microsoft.com/office/drawing/2014/main" val="2633844746"/>
                    </a:ext>
                  </a:extLst>
                </a:gridCol>
              </a:tblGrid>
              <a:tr h="320040">
                <a:tc>
                  <a:txBody>
                    <a:bodyPr/>
                    <a:lstStyle/>
                    <a:p>
                      <a:pPr>
                        <a:defRPr>
                          <a:latin typeface="Nexa Bold"/>
                        </a:defRPr>
                      </a:pPr>
                      <a:r>
                        <a:rPr sz="800" b="0"/>
                        <a:t>Cannibalization within </a:t>
                      </a:r>
                    </a:p>
                    <a:p>
                      <a:pPr>
                        <a:defRPr>
                          <a:latin typeface="Nexa Bold"/>
                        </a:defRPr>
                      </a:pPr>
                      <a:r>
                        <a:rPr sz="800" b="0"/>
                        <a:t>Edgewell Personal Care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Personal Care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Personal Care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6586377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4A9414-1EA1-2C14-8B00-D43656758B8A}"/>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ED3B0261-4E49-CBDF-1BE3-9D7197EDB74C}"/>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D71F61A1-D46B-60DE-CDA2-6DA9FA69F59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87F2698-F69A-9C52-9EE8-8B99CC6F4934}"/>
              </a:ext>
            </a:extLst>
          </p:cNvPr>
          <p:cNvGraphicFramePr>
            <a:graphicFrameLocks/>
          </p:cNvGraphicFramePr>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DB2D2011-65B6-8741-6CCD-D2BDE1F6BC0E}"/>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9/10/2025</a:t>
            </a:fld>
            <a:endParaRPr lang="en-US" noProof="0"/>
          </a:p>
        </p:txBody>
      </p:sp>
      <p:sp>
        <p:nvSpPr>
          <p:cNvPr id="4" name="Footer Placeholder 3">
            <a:extLst>
              <a:ext uri="{FF2B5EF4-FFF2-40B4-BE49-F238E27FC236}">
                <a16:creationId xmlns:a16="http://schemas.microsoft.com/office/drawing/2014/main" id="{9110BB73-04C9-6195-86E4-20E85BB2559A}"/>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C3824B33-41E3-FEC4-12F8-2790C298789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0" name="Content Placeholder 9">
            <a:extLst>
              <a:ext uri="{FF2B5EF4-FFF2-40B4-BE49-F238E27FC236}">
                <a16:creationId xmlns:a16="http://schemas.microsoft.com/office/drawing/2014/main" id="{5CAD17EF-BE13-1A2D-D063-0256986014B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58B0FE68-3747-C71D-E021-3CDA3085F1EA}"/>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Costco | Kirkland Dispo</a:t>
            </a:r>
          </a:p>
        </p:txBody>
      </p:sp>
      <p:sp>
        <p:nvSpPr>
          <p:cNvPr id="8" name="Title 7">
            <a:extLst>
              <a:ext uri="{FF2B5EF4-FFF2-40B4-BE49-F238E27FC236}">
                <a16:creationId xmlns:a16="http://schemas.microsoft.com/office/drawing/2014/main" id="{FE7792F2-48C1-BBDB-38EA-449CA69BFFFA}"/>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58E36E80-3B77-35DD-4736-D69D1E2ABCBC}"/>
              </a:ext>
            </a:extLst>
          </p:cNvPr>
          <p:cNvGraphicFramePr>
            <a:graphicFrameLocks/>
          </p:cNvGraphicFramePr>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48177E7D-FF32-1F61-8C67-EEAF13D8105D}"/>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E88AFE0A-0FB4-9E17-D664-91DDA39EDB49}"/>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AF555647-BFE5-820C-17A7-A4CDD220E923}"/>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15" name="TextBox 14">
            <a:extLst>
              <a:ext uri="{FF2B5EF4-FFF2-40B4-BE49-F238E27FC236}">
                <a16:creationId xmlns:a16="http://schemas.microsoft.com/office/drawing/2014/main" id="{5102366C-9E88-1956-E23B-518D1A2703C3}"/>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5236320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2CBFE6-41B1-E507-5079-2FC10D95B655}"/>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7DC45B1C-34E6-334E-9F5F-42C926258A7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EEEB179A-6B5B-8BB4-AC45-D6F6B4CC6CB4}"/>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9/10/2025</a:t>
            </a:fld>
            <a:endParaRPr lang="en-US" noProof="0" dirty="0"/>
          </a:p>
        </p:txBody>
      </p:sp>
      <p:sp>
        <p:nvSpPr>
          <p:cNvPr id="10" name="Footer Placeholder 9">
            <a:extLst>
              <a:ext uri="{FF2B5EF4-FFF2-40B4-BE49-F238E27FC236}">
                <a16:creationId xmlns:a16="http://schemas.microsoft.com/office/drawing/2014/main" id="{024C0780-8080-6804-3B11-F0EAA8826611}"/>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B2B2A143-0489-B8BD-EA90-55CB46417AA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8" name="Text Placeholder 7">
            <a:extLst>
              <a:ext uri="{FF2B5EF4-FFF2-40B4-BE49-F238E27FC236}">
                <a16:creationId xmlns:a16="http://schemas.microsoft.com/office/drawing/2014/main" id="{FA7CBFA9-F527-BC60-25B2-92DEEFD4D9C1}"/>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960BA54D-ED5B-6392-877D-808D64CA58B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Costco | Schick Razor</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86BA7A65-F6D3-3058-6E55-547866BCC90B}"/>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37EC2603-49A6-0AE3-17C4-29E71DFC8EF6}"/>
              </a:ext>
            </a:extLst>
          </p:cNvPr>
          <p:cNvGraphicFramePr>
            <a:graphicFrameLocks noGrp="1"/>
          </p:cNvGraphicFramePr>
          <p:nvPr>
            <p:ph idx="4294967295"/>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3 Ultra Sensitive 1 Handle + 20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5 Sensitive 1 Handle + 16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5 Sensitive 1 Handle + 20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Quattro Titanium 4 Blade Systems 1 Handle + 13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Gillette Custom Plus 3 Sensitive Disposable Razors 30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Harry's Razor Set Chrome Edition 1 Handle + 13 Cartridges</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None Razor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Gillette Proglide Plus Refills 16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Schick Xtreme 2 Sensitive Disposable Razors 6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Schick Xtreme 3 Sensitive Disposable Razors 2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Schick Xtreme 2 Sensitive Disposable Razors 4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Schick Xtreme 3 Sensitive Disposable Razors 3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Gillette Sensor 2 Plus Disposable Razors 52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Gillette Sensor 3 Sensitive Disposable Razors 2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Bic Flex 5 Disposable Razors 9 Pack </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115270C7-1F47-AFD3-1F31-E678BCDE86D3}"/>
              </a:ext>
            </a:extLst>
          </p:cNvPr>
          <p:cNvGraphicFramePr>
            <a:graphicFrameLocks/>
          </p:cNvGraphicFramePr>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0DED0FD0-12FB-1548-D9C5-38808B80EEB4}"/>
              </a:ext>
            </a:extLst>
          </p:cNvPr>
          <p:cNvGraphicFramePr>
            <a:graphicFrameLocks/>
          </p:cNvGraphicFramePr>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D499E4C9-3D64-4C0B-F16B-4B6EF877916E}"/>
              </a:ext>
            </a:extLst>
          </p:cNvPr>
          <p:cNvGraphicFramePr>
            <a:graphicFrameLocks/>
          </p:cNvGraphicFramePr>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8DF9F8D6-BDEB-D71C-7472-A6DD6BDB3FFC}"/>
              </a:ext>
            </a:extLst>
          </p:cNvPr>
          <p:cNvGraphicFramePr>
            <a:graphicFrameLocks/>
          </p:cNvGraphicFramePr>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5619164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767FC4-482B-9560-BCFA-3975CC743308}"/>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9E12E355-2763-9AC7-B99D-837D0FD661F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24FA3B65-FDDC-943C-3B1C-2BB9E8C068E3}"/>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9/10/2025</a:t>
            </a:fld>
            <a:endParaRPr lang="en-US" noProof="0" dirty="0"/>
          </a:p>
        </p:txBody>
      </p:sp>
      <p:sp>
        <p:nvSpPr>
          <p:cNvPr id="11" name="Footer Placeholder 10">
            <a:extLst>
              <a:ext uri="{FF2B5EF4-FFF2-40B4-BE49-F238E27FC236}">
                <a16:creationId xmlns:a16="http://schemas.microsoft.com/office/drawing/2014/main" id="{4F6AB094-9EF7-CCF2-6E7E-3A1917093FF4}"/>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7D23DCF-7DE4-536D-EFF0-D58B4278BC1C}"/>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dirty="0"/>
          </a:p>
        </p:txBody>
      </p:sp>
      <p:sp>
        <p:nvSpPr>
          <p:cNvPr id="8" name="Text Placeholder 7">
            <a:extLst>
              <a:ext uri="{FF2B5EF4-FFF2-40B4-BE49-F238E27FC236}">
                <a16:creationId xmlns:a16="http://schemas.microsoft.com/office/drawing/2014/main" id="{FDF9CBDA-6897-8EED-C42C-C8D6F6606200}"/>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F6464F42-CE4C-87BA-BCD7-7D1EA0F7FFEC}"/>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Costco | Kirkland Dispo</a:t>
            </a:r>
          </a:p>
        </p:txBody>
      </p:sp>
      <p:sp>
        <p:nvSpPr>
          <p:cNvPr id="3" name="Title 2">
            <a:extLst>
              <a:ext uri="{FF2B5EF4-FFF2-40B4-BE49-F238E27FC236}">
                <a16:creationId xmlns:a16="http://schemas.microsoft.com/office/drawing/2014/main" id="{9472C109-A6A6-8D68-291D-6CB8CCC4479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07DE3DE7-E6B7-31B1-871C-0A8B2F9DDFC1}"/>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3791EBB1-6C98-3E3A-C60E-28083A94B0B4}"/>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63AC521E-9955-95B7-723E-ABC88BB158B2}"/>
              </a:ext>
            </a:extLst>
          </p:cNvPr>
          <p:cNvGraphicFramePr>
            <a:graphicFrameLocks/>
          </p:cNvGraphicFramePr>
          <p:nvPr/>
        </p:nvGraphicFramePr>
        <p:xfrm>
          <a:off x="174228" y="3979225"/>
          <a:ext cx="8464425" cy="105918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3507339">
                  <a:extLst>
                    <a:ext uri="{9D8B030D-6E8A-4147-A177-3AD203B41FA5}">
                      <a16:colId xmlns:a16="http://schemas.microsoft.com/office/drawing/2014/main" val="4292788590"/>
                    </a:ext>
                  </a:extLst>
                </a:gridCol>
                <a:gridCol w="3507339">
                  <a:extLst>
                    <a:ext uri="{9D8B030D-6E8A-4147-A177-3AD203B41FA5}">
                      <a16:colId xmlns:a16="http://schemas.microsoft.com/office/drawing/2014/main" val="401539003"/>
                    </a:ext>
                  </a:extLst>
                </a:gridCol>
              </a:tblGrid>
              <a:tr h="320040">
                <a:tc>
                  <a:txBody>
                    <a:bodyPr/>
                    <a:lstStyle/>
                    <a:p>
                      <a:pPr>
                        <a:defRPr>
                          <a:latin typeface="Nexa Bold"/>
                        </a:defRPr>
                      </a:pPr>
                      <a:r>
                        <a:rPr sz="800" b="0"/>
                        <a:t>Cannibalization within </a:t>
                      </a:r>
                    </a:p>
                    <a:p>
                      <a:pPr>
                        <a:defRPr>
                          <a:latin typeface="Nexa Bold"/>
                        </a:defRPr>
                      </a:pPr>
                      <a:r>
                        <a:rPr sz="800" b="0"/>
                        <a:t>Edgewell Personal Care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Personal Care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Personal Care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41097522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B8A10C-809A-DE93-DA4E-D37D8D337532}"/>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F9790064-D8AB-16E9-AA2E-4639E6B6543B}"/>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4F1812FF-48C1-9B1A-C248-53BA3253F2EA}"/>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9/10/2025</a:t>
            </a:fld>
            <a:endParaRPr lang="en-US" noProof="0" dirty="0"/>
          </a:p>
        </p:txBody>
      </p:sp>
      <p:sp>
        <p:nvSpPr>
          <p:cNvPr id="10" name="Footer Placeholder 9">
            <a:extLst>
              <a:ext uri="{FF2B5EF4-FFF2-40B4-BE49-F238E27FC236}">
                <a16:creationId xmlns:a16="http://schemas.microsoft.com/office/drawing/2014/main" id="{9A42C378-306A-585D-6412-5701725B0A06}"/>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DFE4CD3A-1037-B68C-C1CA-17C47A0CA4E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8" name="Text Placeholder 7">
            <a:extLst>
              <a:ext uri="{FF2B5EF4-FFF2-40B4-BE49-F238E27FC236}">
                <a16:creationId xmlns:a16="http://schemas.microsoft.com/office/drawing/2014/main" id="{1EEC3C1A-1A00-8809-05CA-48E8240C45E6}"/>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93D713CC-BDC1-AF24-8C50-BD65F6A7DE6D}"/>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Costco | Kirkland Dispo</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1ECCF474-4D8A-68C0-7169-B9BA08209D48}"/>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84F4C668-9A12-9CBE-84DA-A3E2749F733F}"/>
              </a:ext>
            </a:extLst>
          </p:cNvPr>
          <p:cNvGraphicFramePr>
            <a:graphicFrameLocks noGrp="1"/>
          </p:cNvGraphicFramePr>
          <p:nvPr>
            <p:ph idx="4294967295"/>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Kirkland Disposable Razors 20 pack </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Kirkland Disposable Razors 30 pack </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algn="l">
                        <a:defRPr>
                          <a:latin typeface="Nexa Book"/>
                        </a:defRPr>
                      </a:pPr>
                      <a:r>
                        <a:rPr sz="700" b="0"/>
                        <a:t>Gillette Custom Plus 3 Sensitive Disposable Razors 30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algn="l">
                        <a:defRPr>
                          <a:latin typeface="Nexa Book"/>
                        </a:defRPr>
                      </a:pPr>
                      <a:r>
                        <a:rPr sz="700" b="0"/>
                        <a:t>None Razors</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algn="l">
                        <a:defRPr>
                          <a:latin typeface="Nexa Book"/>
                        </a:defRPr>
                      </a:pPr>
                      <a:r>
                        <a:rPr sz="700" b="0"/>
                        <a:t>Harry's Razor Set Chrome Edition 1 Handle + 13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algn="l">
                        <a:defRPr>
                          <a:latin typeface="Nexa Book"/>
                        </a:defRPr>
                      </a:pPr>
                      <a:r>
                        <a:rPr sz="700" b="0"/>
                        <a:t>Gillette Proglide Plus Refills 16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algn="l">
                        <a:defRPr>
                          <a:latin typeface="Nexa Book"/>
                        </a:defRPr>
                      </a:pPr>
                      <a:r>
                        <a:rPr sz="700" b="0"/>
                        <a:t>Schick Xtreme 2 Sensitive Disposable Razors 6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algn="l">
                        <a:defRPr>
                          <a:latin typeface="Nexa Book"/>
                        </a:defRPr>
                      </a:pPr>
                      <a:r>
                        <a:rPr sz="700" b="0"/>
                        <a:t>Schick Xtreme 3 Sensitive Disposable Razors 2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algn="l">
                        <a:defRPr>
                          <a:latin typeface="Nexa Book"/>
                        </a:defRPr>
                      </a:pPr>
                      <a:r>
                        <a:rPr sz="700" b="0"/>
                        <a:t>Schick Xtreme 2 Sensitive Disposable Razors 4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algn="l">
                        <a:defRPr>
                          <a:latin typeface="Nexa Book"/>
                        </a:defRPr>
                      </a:pPr>
                      <a:r>
                        <a:rPr sz="700" b="0"/>
                        <a:t>Schick Xtreme 3 Sensitive Disposable Razors 3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algn="l">
                        <a:defRPr>
                          <a:latin typeface="Nexa Book"/>
                        </a:defRPr>
                      </a:pPr>
                      <a:r>
                        <a:rPr sz="700" b="0"/>
                        <a:t>Schick Hydro 5 Sensitive 1 Handle + 16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algn="l">
                        <a:defRPr>
                          <a:latin typeface="Nexa Book"/>
                        </a:defRPr>
                      </a:pPr>
                      <a:r>
                        <a:rPr sz="700" b="0"/>
                        <a:t>Schick Hydro 5 Sensitive 1 Handle + 20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algn="l">
                        <a:defRPr>
                          <a:latin typeface="Nexa Book"/>
                        </a:defRPr>
                      </a:pPr>
                      <a:r>
                        <a:rPr sz="700" b="0"/>
                        <a:t>Bic Flex 5 Disposable Razors 9 Pack </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DDD5DD4A-3A01-E008-B6EA-773392CCAAB8}"/>
              </a:ext>
            </a:extLst>
          </p:cNvPr>
          <p:cNvGraphicFramePr>
            <a:graphicFrameLocks/>
          </p:cNvGraphicFramePr>
          <p:nvPr/>
        </p:nvGraphicFramePr>
        <p:xfrm>
          <a:off x="2991173" y="1569997"/>
          <a:ext cx="190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72CAB0BD-BC0F-97D4-3623-94E4ADE120DF}"/>
              </a:ext>
            </a:extLst>
          </p:cNvPr>
          <p:cNvGraphicFramePr>
            <a:graphicFrameLocks/>
          </p:cNvGraphicFramePr>
          <p:nvPr/>
        </p:nvGraphicFramePr>
        <p:xfrm>
          <a:off x="5188907" y="1569997"/>
          <a:ext cx="1908000" cy="31680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9562912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C0D9AB-ACFF-11CF-1D29-247387DD292E}"/>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DAFF132E-16DD-EB35-9689-79C9A6E2A4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91A66ECD-2BF8-3815-08F3-1E11B9E1CD8D}"/>
              </a:ext>
            </a:extLst>
          </p:cNvPr>
          <p:cNvSpPr>
            <a:spLocks noGrp="1"/>
          </p:cNvSpPr>
          <p:nvPr>
            <p:ph type="body" sz="quarter" idx="18"/>
          </p:nvPr>
        </p:nvSpPr>
        <p:spPr/>
        <p:txBody>
          <a:bodyPr/>
          <a:lstStyle/>
          <a:p>
            <a:r>
              <a:t>Summary | Innovations | Kirkland Razor</a:t>
            </a:r>
          </a:p>
        </p:txBody>
      </p:sp>
      <p:sp>
        <p:nvSpPr>
          <p:cNvPr id="2" name="Title 1">
            <a:extLst>
              <a:ext uri="{FF2B5EF4-FFF2-40B4-BE49-F238E27FC236}">
                <a16:creationId xmlns:a16="http://schemas.microsoft.com/office/drawing/2014/main" id="{0088A0AB-C543-6813-FE1A-FA6E607C788D}"/>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A388B0E0-D908-EBD2-F318-6E799DF2BA60}"/>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9/10/2025</a:t>
            </a:fld>
            <a:endParaRPr lang="en-US"/>
          </a:p>
        </p:txBody>
      </p:sp>
      <p:sp>
        <p:nvSpPr>
          <p:cNvPr id="19" name="Slide Number Placeholder 18">
            <a:extLst>
              <a:ext uri="{FF2B5EF4-FFF2-40B4-BE49-F238E27FC236}">
                <a16:creationId xmlns:a16="http://schemas.microsoft.com/office/drawing/2014/main" id="{95AE4053-D0D9-5FD3-D507-A5B673AEB3E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5</a:t>
            </a:fld>
            <a:endParaRPr lang="en-US"/>
          </a:p>
        </p:txBody>
      </p:sp>
      <p:graphicFrame>
        <p:nvGraphicFramePr>
          <p:cNvPr id="7" name="Table 6">
            <a:extLst>
              <a:ext uri="{FF2B5EF4-FFF2-40B4-BE49-F238E27FC236}">
                <a16:creationId xmlns:a16="http://schemas.microsoft.com/office/drawing/2014/main" id="{93625229-913A-94E3-AABE-70F2A5C4C1D4}"/>
              </a:ext>
            </a:extLst>
          </p:cNvPr>
          <p:cNvGraphicFramePr>
            <a:graphicFrameLocks noGrp="1"/>
          </p:cNvGraphicFramePr>
          <p:nvPr/>
        </p:nvGraphicFramePr>
        <p:xfrm>
          <a:off x="503238" y="1049315"/>
          <a:ext cx="8243580" cy="373052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3484560">
                <a:tc>
                  <a:txBody>
                    <a:bodyPr/>
                    <a:lstStyle/>
                    <a:p>
                      <a:pPr algn="ctr">
                        <a:defRPr sz="800">
                          <a:latin typeface="Nexa Book"/>
                        </a:defRPr>
                      </a:pPr>
                      <a:r>
                        <a:rPr sz="700"/>
                        <a:t>Kirkland 5 blades 1 Handle + 13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6.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9DCD7DDE-B6D1-BB98-BF68-E67C0A161F43}"/>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27377829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DE7E65-845D-BC14-76F7-B70518E76CBD}"/>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A33DA51-26A9-E478-FCA7-709D9AB9A85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DFF9BAA8-4CCB-A43A-EE74-B488FED1D1D2}"/>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9/10/2025</a:t>
            </a:fld>
            <a:endParaRPr lang="en-US" noProof="0"/>
          </a:p>
        </p:txBody>
      </p:sp>
      <p:sp>
        <p:nvSpPr>
          <p:cNvPr id="4" name="Footer Placeholder 3">
            <a:extLst>
              <a:ext uri="{FF2B5EF4-FFF2-40B4-BE49-F238E27FC236}">
                <a16:creationId xmlns:a16="http://schemas.microsoft.com/office/drawing/2014/main" id="{BD327C08-93A8-AAE3-C6F6-4C3F87D2F5E8}"/>
              </a:ext>
            </a:extLst>
          </p:cNvPr>
          <p:cNvSpPr>
            <a:spLocks noGrp="1"/>
          </p:cNvSpPr>
          <p:nvPr>
            <p:ph type="ftr" sz="quarter" idx="15"/>
          </p:nvPr>
        </p:nvSpPr>
        <p:spPr>
          <a:xfrm>
            <a:off x="546969" y="4970700"/>
            <a:ext cx="6451742" cy="174151"/>
          </a:xfrm>
        </p:spPr>
        <p:txBody>
          <a:bodyPr/>
          <a:lstStyle/>
          <a:p>
            <a:pPr lvl="0"/>
            <a:endParaRPr lang="en-US" noProof="0" dirty="0">
              <a:solidFill>
                <a:srgbClr val="FF0000"/>
              </a:solidFill>
            </a:endParaRPr>
          </a:p>
        </p:txBody>
      </p:sp>
      <p:sp>
        <p:nvSpPr>
          <p:cNvPr id="3" name="Slide Number Placeholder 2">
            <a:extLst>
              <a:ext uri="{FF2B5EF4-FFF2-40B4-BE49-F238E27FC236}">
                <a16:creationId xmlns:a16="http://schemas.microsoft.com/office/drawing/2014/main" id="{98969378-F99B-784D-00F1-90E451B324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0" name="Content Placeholder 9">
            <a:extLst>
              <a:ext uri="{FF2B5EF4-FFF2-40B4-BE49-F238E27FC236}">
                <a16:creationId xmlns:a16="http://schemas.microsoft.com/office/drawing/2014/main" id="{AF066899-69FC-120F-4D10-C7DBA4C0F82E}"/>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1F51AB6B-57CC-7BC0-7D00-2FEC33616EEC}"/>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Costco | Kirkland Razor</a:t>
            </a:r>
          </a:p>
        </p:txBody>
      </p:sp>
      <p:sp>
        <p:nvSpPr>
          <p:cNvPr id="8" name="Title 7">
            <a:extLst>
              <a:ext uri="{FF2B5EF4-FFF2-40B4-BE49-F238E27FC236}">
                <a16:creationId xmlns:a16="http://schemas.microsoft.com/office/drawing/2014/main" id="{1A5F0782-EFD4-1AF5-7AF8-589559A92421}"/>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E496CBB7-BC17-AC5E-2EEB-63C7BEA8AE61}"/>
              </a:ext>
            </a:extLst>
          </p:cNvPr>
          <p:cNvGraphicFramePr>
            <a:graphicFrameLocks/>
          </p:cNvGraphicFramePr>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37FC0140-3BBC-AF2C-C4D4-9B42C14E574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3973C0FC-9D5A-9CDE-F241-8C28E152331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01423269-B589-FE5F-9689-919BB2D9179F}"/>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9" name="TextBox 8">
            <a:extLst>
              <a:ext uri="{FF2B5EF4-FFF2-40B4-BE49-F238E27FC236}">
                <a16:creationId xmlns:a16="http://schemas.microsoft.com/office/drawing/2014/main" id="{4B015D92-532A-31F2-9DC0-5DE56F1B6B0D}"/>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21810108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8685FA-18FB-6737-4CB9-2B91C78745AB}"/>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E126F1F8-26A0-2B49-7101-C02D594EC453}"/>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5CD7CBFA-8A09-3802-546A-2F5B89C31007}"/>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9/10/2025</a:t>
            </a:fld>
            <a:endParaRPr lang="en-US" noProof="0" dirty="0"/>
          </a:p>
        </p:txBody>
      </p:sp>
      <p:sp>
        <p:nvSpPr>
          <p:cNvPr id="11" name="Footer Placeholder 10">
            <a:extLst>
              <a:ext uri="{FF2B5EF4-FFF2-40B4-BE49-F238E27FC236}">
                <a16:creationId xmlns:a16="http://schemas.microsoft.com/office/drawing/2014/main" id="{FE1E8B8D-6A13-FBFA-5C02-2A4E6388FF1E}"/>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56CCDB9-2019-521C-DD1C-2600571EC1C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dirty="0"/>
          </a:p>
        </p:txBody>
      </p:sp>
      <p:sp>
        <p:nvSpPr>
          <p:cNvPr id="8" name="Text Placeholder 7">
            <a:extLst>
              <a:ext uri="{FF2B5EF4-FFF2-40B4-BE49-F238E27FC236}">
                <a16:creationId xmlns:a16="http://schemas.microsoft.com/office/drawing/2014/main" id="{B98B0749-65D0-329C-62F2-C194EA0FAD0D}"/>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156943C8-0A1F-C786-E343-2ADB5D2A6707}"/>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Costco | Kirkland Razor</a:t>
            </a:r>
          </a:p>
        </p:txBody>
      </p:sp>
      <p:sp>
        <p:nvSpPr>
          <p:cNvPr id="3" name="Title 2">
            <a:extLst>
              <a:ext uri="{FF2B5EF4-FFF2-40B4-BE49-F238E27FC236}">
                <a16:creationId xmlns:a16="http://schemas.microsoft.com/office/drawing/2014/main" id="{30B25273-4719-A210-FADC-A32EE95D882D}"/>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C33D62A5-239F-2C71-F1B3-550703C2CDF9}"/>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6DE49E88-0098-A50A-D0E8-1825309ED9BE}"/>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CA679594-42E2-EF8D-366F-9F541A943B5F}"/>
              </a:ext>
            </a:extLst>
          </p:cNvPr>
          <p:cNvGraphicFramePr>
            <a:graphicFrameLocks/>
          </p:cNvGraphicFramePr>
          <p:nvPr/>
        </p:nvGraphicFramePr>
        <p:xfrm>
          <a:off x="174228" y="3979225"/>
          <a:ext cx="8464425" cy="105918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ersonal Care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Personal Care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Personal Care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3686020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D76E48-99F2-03ED-DD62-7CB0D875A4C3}"/>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AD0954F-919D-4934-F6B8-2031CE468F3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F268B2E-22FA-8094-D254-3BA12F64530A}"/>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9/10/2025</a:t>
            </a:fld>
            <a:endParaRPr lang="en-US" noProof="0" dirty="0"/>
          </a:p>
        </p:txBody>
      </p:sp>
      <p:sp>
        <p:nvSpPr>
          <p:cNvPr id="10" name="Footer Placeholder 9">
            <a:extLst>
              <a:ext uri="{FF2B5EF4-FFF2-40B4-BE49-F238E27FC236}">
                <a16:creationId xmlns:a16="http://schemas.microsoft.com/office/drawing/2014/main" id="{84CFA346-ABB0-31F2-A3B2-924F7C0663A7}"/>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690DD1BB-4B4A-45B5-3F39-2963DEB879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8" name="Text Placeholder 7">
            <a:extLst>
              <a:ext uri="{FF2B5EF4-FFF2-40B4-BE49-F238E27FC236}">
                <a16:creationId xmlns:a16="http://schemas.microsoft.com/office/drawing/2014/main" id="{F0BE8FB7-687C-0EF1-AC4B-3AD40853BA5B}"/>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023F031E-73B5-5653-B259-83BFE9E7B2D1}"/>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Costco | Kirkland Razor</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AF56049A-E6DC-0B62-D9E5-D4E8DF16FC6D}"/>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7C3DBD1A-B2E0-9DB5-C9D4-E38047AE2EEB}"/>
              </a:ext>
            </a:extLst>
          </p:cNvPr>
          <p:cNvGraphicFramePr>
            <a:graphicFrameLocks noGrp="1"/>
          </p:cNvGraphicFramePr>
          <p:nvPr>
            <p:ph idx="4294967295"/>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Kirkland 5 blades 1 Handle + 13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Gillette Custom Plus 3 Sensitive Disposable Razors 30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Harry's Razor Set Chrome Edition 1 Handle + 13 Cartridges</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None Razor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Gillette Proglide Plus Refills 16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Schick Xtreme 2 Sensitive Disposable Razors 6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Schick Xtreme 3 Sensitive Disposable Razors 2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Schick Xtreme 2 Sensitive Disposable Razors 4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Schick Xtreme 3 Sensitive Disposable Razors 3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Gillette Sensor 2 Plus Disposable Razors 52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Gillette Sensor 3 Sensitive Disposable Razors 2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Bic Flex 5 Disposable Razors 9 Pack </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00FE29AB-B4F2-2481-5A25-DD3B810BEB3C}"/>
              </a:ext>
            </a:extLst>
          </p:cNvPr>
          <p:cNvGraphicFramePr>
            <a:graphicFrameLocks/>
          </p:cNvGraphicFramePr>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674611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D29D2D-AEE6-4421-10BF-D837BEE7FF41}"/>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2A31B2A0-981E-3F72-D36B-41F791C4CB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882B1D90-4188-67D0-36C9-2E275056A727}"/>
              </a:ext>
            </a:extLst>
          </p:cNvPr>
          <p:cNvSpPr>
            <a:spLocks noGrp="1"/>
          </p:cNvSpPr>
          <p:nvPr>
            <p:ph type="body" sz="quarter" idx="18"/>
          </p:nvPr>
        </p:nvSpPr>
        <p:spPr/>
        <p:txBody>
          <a:bodyPr/>
          <a:lstStyle/>
          <a:p>
            <a:r>
              <a:t>Summary | Innovations | Schick Blade</a:t>
            </a:r>
          </a:p>
        </p:txBody>
      </p:sp>
      <p:sp>
        <p:nvSpPr>
          <p:cNvPr id="2" name="Title 1">
            <a:extLst>
              <a:ext uri="{FF2B5EF4-FFF2-40B4-BE49-F238E27FC236}">
                <a16:creationId xmlns:a16="http://schemas.microsoft.com/office/drawing/2014/main" id="{65EE20CD-867D-711A-F0D1-8B03F63B4120}"/>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B57AB8CF-6B6A-DF41-FB4E-C804BF78990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9/10/2025</a:t>
            </a:fld>
            <a:endParaRPr lang="en-US"/>
          </a:p>
        </p:txBody>
      </p:sp>
      <p:sp>
        <p:nvSpPr>
          <p:cNvPr id="19" name="Slide Number Placeholder 18">
            <a:extLst>
              <a:ext uri="{FF2B5EF4-FFF2-40B4-BE49-F238E27FC236}">
                <a16:creationId xmlns:a16="http://schemas.microsoft.com/office/drawing/2014/main" id="{D436C782-668F-CEFF-C606-5DD1B0A15048}"/>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9</a:t>
            </a:fld>
            <a:endParaRPr lang="en-US"/>
          </a:p>
        </p:txBody>
      </p:sp>
      <p:graphicFrame>
        <p:nvGraphicFramePr>
          <p:cNvPr id="7" name="Table 6">
            <a:extLst>
              <a:ext uri="{FF2B5EF4-FFF2-40B4-BE49-F238E27FC236}">
                <a16:creationId xmlns:a16="http://schemas.microsoft.com/office/drawing/2014/main" id="{CF6AC35D-8A30-0E97-3E8D-558FA2EAEAD2}"/>
              </a:ext>
            </a:extLst>
          </p:cNvPr>
          <p:cNvGraphicFramePr>
            <a:graphicFrameLocks noGrp="1"/>
          </p:cNvGraphicFramePr>
          <p:nvPr/>
        </p:nvGraphicFramePr>
        <p:xfrm>
          <a:off x="503238" y="1049315"/>
          <a:ext cx="8243580" cy="373052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0">
                <a:tc>
                  <a:txBody>
                    <a:bodyPr/>
                    <a:lstStyle/>
                    <a:p>
                      <a:pPr algn="ctr">
                        <a:defRPr sz="800">
                          <a:latin typeface="Nexa Book"/>
                        </a:defRPr>
                      </a:pPr>
                      <a:r>
                        <a:rPr sz="700"/>
                        <a:t>Schick Hydro 5 Blade Sensitive Refills 16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8.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0">
                <a:tc>
                  <a:txBody>
                    <a:bodyPr/>
                    <a:lstStyle/>
                    <a:p>
                      <a:pPr algn="ctr">
                        <a:defRPr sz="800">
                          <a:latin typeface="Nexa Book"/>
                        </a:defRPr>
                      </a:pPr>
                      <a:r>
                        <a:rPr sz="700"/>
                        <a:t>Schick Hydro 3 Ultra Sensitive Refills 20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27B5F5F9-7115-EF6C-61BB-3107FB350C46}"/>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32007103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21786C5-D6DC-4DB9-87D8-B24F55D31899}">
  <ds:schemaRefs>
    <ds:schemaRef ds:uri="http://schemas.microsoft.com/sharepoint/v3/contenttype/forms"/>
  </ds:schemaRefs>
</ds:datastoreItem>
</file>

<file path=customXml/itemProps3.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2019</Words>
  <Application>Microsoft Office PowerPoint</Application>
  <PresentationFormat>On-screen Show (16:9)</PresentationFormat>
  <Paragraphs>607</Paragraphs>
  <Slides>20</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30" baseType="lpstr">
      <vt:lpstr>Aptos</vt:lpstr>
      <vt:lpstr>Arial</vt:lpstr>
      <vt:lpstr>Nexa</vt:lpstr>
      <vt:lpstr>Nexa Bold</vt:lpstr>
      <vt:lpstr>Nexa Bold (Headings)</vt:lpstr>
      <vt:lpstr>Nexa Book</vt:lpstr>
      <vt:lpstr>Nexa Book Italic</vt:lpstr>
      <vt:lpstr>Open Sans</vt:lpstr>
      <vt:lpstr>PricingOne Light Template Oct 2024</vt:lpstr>
      <vt:lpstr>think-cell Slide</vt:lpstr>
      <vt:lpstr>Innovation summary (Replace with SO WHAT)</vt:lpstr>
      <vt:lpstr>Innovation ranking (Replace with SO WHAT)</vt:lpstr>
      <vt:lpstr>Innovation potential (Replace with SO WHAT)</vt:lpstr>
      <vt:lpstr>Innovation sourcing (Replace with SO WHAT)</vt:lpstr>
      <vt:lpstr>Innovation summary (Replace with SO WHAT)</vt:lpstr>
      <vt:lpstr>Innovation ranking (Replace with SO WHAT)</vt:lpstr>
      <vt:lpstr>Innovation potential (Replace with SO WHAT)</vt:lpstr>
      <vt:lpstr>Innovation sourcing (Replace with SO WHAT)</vt:lpstr>
      <vt:lpstr>Innovation summary (Replace with SO WHAT)</vt:lpstr>
      <vt:lpstr>Innovation ranking (Replace with SO WHAT)</vt:lpstr>
      <vt:lpstr>Innovation potential (Replace with SO WHAT)</vt:lpstr>
      <vt:lpstr>Innovation sourcing (Replace with SO WHAT)</vt:lpstr>
      <vt:lpstr>Innovation summary (Replace with SO WHAT)</vt:lpstr>
      <vt:lpstr>Innovation ranking (Replace with SO WHAT)</vt:lpstr>
      <vt:lpstr>Innovation potential (Replace with SO WHAT)</vt:lpstr>
      <vt:lpstr>Innovation sourcing (Replace with SO WHAT)</vt:lpstr>
      <vt:lpstr>Innovation summary (Replace with SO WHAT)</vt:lpstr>
      <vt:lpstr>Innovation ranking (Replace with SO WHAT)</vt:lpstr>
      <vt:lpstr>Innovation potential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i SALEM</cp:lastModifiedBy>
  <cp:revision>17</cp:revision>
  <dcterms:created xsi:type="dcterms:W3CDTF">2024-07-08T12:20:01Z</dcterms:created>
  <dcterms:modified xsi:type="dcterms:W3CDTF">2025-09-10T12:50: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